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17"/>
  </p:notesMasterIdLst>
  <p:sldIdLst>
    <p:sldId id="268" r:id="rId4"/>
    <p:sldId id="257" r:id="rId5"/>
    <p:sldId id="269" r:id="rId6"/>
    <p:sldId id="277" r:id="rId7"/>
    <p:sldId id="286" r:id="rId8"/>
    <p:sldId id="276" r:id="rId9"/>
    <p:sldId id="264" r:id="rId10"/>
    <p:sldId id="278" r:id="rId11"/>
    <p:sldId id="287" r:id="rId12"/>
    <p:sldId id="288" r:id="rId13"/>
    <p:sldId id="275" r:id="rId14"/>
    <p:sldId id="265" r:id="rId15"/>
    <p:sldId id="274" r:id="rId16"/>
  </p:sldIdLst>
  <p:sldSz cx="9144000" cy="6858000" type="screen4x3"/>
  <p:notesSz cx="6858000" cy="9947275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F3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75" autoAdjust="0"/>
    <p:restoredTop sz="94660"/>
  </p:normalViewPr>
  <p:slideViewPr>
    <p:cSldViewPr>
      <p:cViewPr varScale="1">
        <p:scale>
          <a:sx n="108" d="100"/>
          <a:sy n="108" d="100"/>
        </p:scale>
        <p:origin x="1848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SharshovSI\Desktop\&#1050;&#1110;&#1083;&#1100;&#1082;&#1110;&#1089;&#1090;&#1100;%20&#1054;&#1058;&#1043;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DamentsovaLP\AppData\Local\Microsoft\Windows\INetCache\Content.Outlook\UT1U87W4\&#1056;&#1086;&#1079;&#1073;&#1080;&#1074;&#1082;&#1072;%20&#1057;&#1091;&#1073;&#1074;&#1077;&#1085;&#1094;&#1110;&#1111;%20&#1087;&#1086;%20&#1075;&#1072;&#1083;&#1091;&#1079;&#1103;&#1093;%20-%20&#1064;&#1072;&#1088;&#1096;&#1086;&#1074;%20-21.02.17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0638030959523017E-2"/>
          <c:y val="2.6461399183874464E-2"/>
          <c:w val="0.76061490852868208"/>
          <c:h val="0.9257481150743011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'[Кількість ОТГ.xlsx]Аркуш5'!$A$2</c:f>
              <c:strCache>
                <c:ptCount val="1"/>
                <c:pt idx="0">
                  <c:v>Субвенція на соц.економ розвиток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732C-4AEB-9F4E-F1294AA6A90C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732C-4AEB-9F4E-F1294AA6A90C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732C-4AEB-9F4E-F1294AA6A90C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732C-4AEB-9F4E-F1294AA6A90C}"/>
              </c:ext>
            </c:extLst>
          </c:dPt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2:$E$2</c:f>
              <c:numCache>
                <c:formatCode>General</c:formatCode>
                <c:ptCount val="4"/>
                <c:pt idx="0">
                  <c:v>0.5</c:v>
                </c:pt>
                <c:pt idx="1">
                  <c:v>0.8</c:v>
                </c:pt>
                <c:pt idx="2">
                  <c:v>3.3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2C-4AEB-9F4E-F1294AA6A90C}"/>
            </c:ext>
          </c:extLst>
        </c:ser>
        <c:ser>
          <c:idx val="1"/>
          <c:order val="1"/>
          <c:tx>
            <c:strRef>
              <c:f>'[Кількість ОТГ.xlsx]Аркуш5'!$A$3</c:f>
              <c:strCache>
                <c:ptCount val="1"/>
                <c:pt idx="0">
                  <c:v>Державний фонд регіонального розвитку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3:$E$3</c:f>
              <c:numCache>
                <c:formatCode>General</c:formatCode>
                <c:ptCount val="4"/>
                <c:pt idx="1">
                  <c:v>2.9</c:v>
                </c:pt>
                <c:pt idx="2">
                  <c:v>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32C-4AEB-9F4E-F1294AA6A90C}"/>
            </c:ext>
          </c:extLst>
        </c:ser>
        <c:ser>
          <c:idx val="2"/>
          <c:order val="2"/>
          <c:tx>
            <c:strRef>
              <c:f>'[Кількість ОТГ.xlsx]Аркуш5'!$A$4</c:f>
              <c:strCache>
                <c:ptCount val="1"/>
                <c:pt idx="0">
                  <c:v>Субвенція на інфраструктуру об"єднаних територіальних громад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</c:spPr>
          <c:invertIfNegative val="0"/>
          <c:cat>
            <c:numRef>
              <c:f>'[Кількість ОТГ.xlsx]Аркуш5'!$B$1:$E$1</c:f>
              <c:numCache>
                <c:formatCode>General</c:formatCode>
                <c:ptCount val="4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</c:numCache>
            </c:numRef>
          </c:cat>
          <c:val>
            <c:numRef>
              <c:f>'[Кількість ОТГ.xlsx]Аркуш5'!$B$4:$E$4</c:f>
              <c:numCache>
                <c:formatCode>General</c:formatCode>
                <c:ptCount val="4"/>
                <c:pt idx="2">
                  <c:v>1</c:v>
                </c:pt>
                <c:pt idx="3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32C-4AEB-9F4E-F1294AA6A9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86280192"/>
        <c:axId val="186294272"/>
        <c:axId val="0"/>
      </c:bar3DChart>
      <c:catAx>
        <c:axId val="186280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uk-UA"/>
          </a:p>
        </c:txPr>
        <c:crossAx val="186294272"/>
        <c:crosses val="autoZero"/>
        <c:auto val="1"/>
        <c:lblAlgn val="ctr"/>
        <c:lblOffset val="100"/>
        <c:noMultiLvlLbl val="0"/>
      </c:catAx>
      <c:valAx>
        <c:axId val="1862942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62801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912810613635521"/>
          <c:y val="0.21315636633392837"/>
          <c:w val="0.19182729696700368"/>
          <c:h val="0.66708217271151138"/>
        </c:manualLayout>
      </c:layout>
      <c:overlay val="0"/>
      <c:txPr>
        <a:bodyPr/>
        <a:lstStyle/>
        <a:p>
          <a:pPr>
            <a:defRPr sz="1200"/>
          </a:pPr>
          <a:endParaRPr lang="uk-UA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553519573351202"/>
          <c:y val="0.22524092137736518"/>
          <c:w val="0.33290123973864977"/>
          <c:h val="0.4670554706781056"/>
        </c:manualLayout>
      </c:layout>
      <c:pieChart>
        <c:varyColors val="1"/>
        <c:ser>
          <c:idx val="0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9E2-47CF-A7B2-C67FACF4CB1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9E2-47CF-A7B2-C67FACF4CB1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59E2-47CF-A7B2-C67FACF4CB18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59E2-47CF-A7B2-C67FACF4CB18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59E2-47CF-A7B2-C67FACF4CB18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59E2-47CF-A7B2-C67FACF4CB18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59E2-47CF-A7B2-C67FACF4CB18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7-59E2-47CF-A7B2-C67FACF4CB18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8-59E2-47CF-A7B2-C67FACF4CB18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9-59E2-47CF-A7B2-C67FACF4CB1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9E2-47CF-A7B2-C67FACF4CB18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B-59E2-47CF-A7B2-C67FACF4CB18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C-59E2-47CF-A7B2-C67FACF4CB18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D-59E2-47CF-A7B2-C67FACF4CB18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Аркуш1!$A$26:$A$39</c:f>
              <c:strCache>
                <c:ptCount val="14"/>
                <c:pt idx="0">
                  <c:v>Освіта</c:v>
                </c:pt>
                <c:pt idx="1">
                  <c:v>Ремонт доріг</c:v>
                </c:pt>
                <c:pt idx="2">
                  <c:v>Придбання спецтехніки</c:v>
                </c:pt>
                <c:pt idx="3">
                  <c:v>Культура</c:v>
                </c:pt>
                <c:pt idx="4">
                  <c:v>Водопостачання, водовідведення</c:v>
                </c:pt>
                <c:pt idx="5">
                  <c:v>Нерозподілений залишок</c:v>
                </c:pt>
                <c:pt idx="6">
                  <c:v>Освітлення вулиць</c:v>
                </c:pt>
                <c:pt idx="7">
                  <c:v>Охорона здоровя </c:v>
                </c:pt>
                <c:pt idx="8">
                  <c:v>Інше</c:v>
                </c:pt>
                <c:pt idx="9">
                  <c:v>Ремонт адмін будівель</c:v>
                </c:pt>
                <c:pt idx="10">
                  <c:v>Створення ЦНАП</c:v>
                </c:pt>
                <c:pt idx="11">
                  <c:v>Придбання шкільних автобусів</c:v>
                </c:pt>
                <c:pt idx="12">
                  <c:v>Спорт</c:v>
                </c:pt>
                <c:pt idx="13">
                  <c:v>Містобудівна документація</c:v>
                </c:pt>
              </c:strCache>
            </c:strRef>
          </c:cat>
          <c:val>
            <c:numRef>
              <c:f>Аркуш1!$B$26:$B$39</c:f>
              <c:numCache>
                <c:formatCode>General</c:formatCode>
                <c:ptCount val="14"/>
                <c:pt idx="0">
                  <c:v>234780999.22999999</c:v>
                </c:pt>
                <c:pt idx="1">
                  <c:v>234466996.95999995</c:v>
                </c:pt>
                <c:pt idx="2">
                  <c:v>124596576.72999999</c:v>
                </c:pt>
                <c:pt idx="3">
                  <c:v>72783030.710000008</c:v>
                </c:pt>
                <c:pt idx="4">
                  <c:v>68130811.980000004</c:v>
                </c:pt>
                <c:pt idx="5">
                  <c:v>55291779.460000001</c:v>
                </c:pt>
                <c:pt idx="6">
                  <c:v>53698001.49000001</c:v>
                </c:pt>
                <c:pt idx="7">
                  <c:v>46546234.599999987</c:v>
                </c:pt>
                <c:pt idx="8">
                  <c:v>35102362.25</c:v>
                </c:pt>
                <c:pt idx="9">
                  <c:v>27131850.600000001</c:v>
                </c:pt>
                <c:pt idx="10">
                  <c:v>17155558.870000001</c:v>
                </c:pt>
                <c:pt idx="11">
                  <c:v>15735612.800000001</c:v>
                </c:pt>
                <c:pt idx="12">
                  <c:v>12630143.609999999</c:v>
                </c:pt>
                <c:pt idx="13">
                  <c:v>195004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9E2-47CF-A7B2-C67FACF4CB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833</cdr:x>
      <cdr:y>0.87634</cdr:y>
    </cdr:from>
    <cdr:to>
      <cdr:x>0.16667</cdr:x>
      <cdr:y>0.92577</cdr:y>
    </cdr:to>
    <cdr:sp macro="" textlink="">
      <cdr:nvSpPr>
        <cdr:cNvPr id="2" name="Прямокутник 1"/>
        <cdr:cNvSpPr/>
      </cdr:nvSpPr>
      <cdr:spPr>
        <a:xfrm xmlns:a="http://schemas.openxmlformats.org/drawingml/2006/main">
          <a:off x="951676" y="4467757"/>
          <a:ext cx="512516" cy="252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uk-UA" sz="1200" b="1" dirty="0">
              <a:solidFill>
                <a:schemeClr val="tx1"/>
              </a:solidFill>
            </a:rPr>
            <a:t>  0,5</a:t>
          </a:r>
        </a:p>
      </cdr:txBody>
    </cdr:sp>
  </cdr:relSizeAnchor>
  <cdr:relSizeAnchor xmlns:cdr="http://schemas.openxmlformats.org/drawingml/2006/chartDrawing">
    <cdr:from>
      <cdr:x>0.625</cdr:x>
      <cdr:y>0.66216</cdr:y>
    </cdr:from>
    <cdr:to>
      <cdr:x>0.68333</cdr:x>
      <cdr:y>1</cdr:y>
    </cdr:to>
    <cdr:sp macro="" textlink="">
      <cdr:nvSpPr>
        <cdr:cNvPr id="3" name="Прямокутник 2"/>
        <cdr:cNvSpPr/>
      </cdr:nvSpPr>
      <cdr:spPr>
        <a:xfrm xmlns:a="http://schemas.openxmlformats.org/drawingml/2006/main" flipH="1">
          <a:off x="5490602" y="3528392"/>
          <a:ext cx="512457" cy="1800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b="1" dirty="0">
              <a:solidFill>
                <a:schemeClr val="tx1"/>
              </a:solidFill>
            </a:rPr>
            <a:t>   </a:t>
          </a:r>
          <a:r>
            <a:rPr lang="uk-UA" sz="1200" b="1" dirty="0">
              <a:solidFill>
                <a:schemeClr val="tx1"/>
              </a:solidFill>
            </a:rPr>
            <a:t>4,0</a:t>
          </a:r>
        </a:p>
      </cdr:txBody>
    </cdr:sp>
  </cdr:relSizeAnchor>
  <cdr:relSizeAnchor xmlns:cdr="http://schemas.openxmlformats.org/drawingml/2006/chartDrawing">
    <cdr:from>
      <cdr:x>0.45833</cdr:x>
      <cdr:y>0.68919</cdr:y>
    </cdr:from>
    <cdr:to>
      <cdr:x>0.51667</cdr:x>
      <cdr:y>0.75676</cdr:y>
    </cdr:to>
    <cdr:sp macro="" textlink="">
      <cdr:nvSpPr>
        <cdr:cNvPr id="4" name="Прямокутник 3"/>
        <cdr:cNvSpPr/>
      </cdr:nvSpPr>
      <cdr:spPr>
        <a:xfrm xmlns:a="http://schemas.openxmlformats.org/drawingml/2006/main">
          <a:off x="3960440" y="3672408"/>
          <a:ext cx="504056" cy="36004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b="1" dirty="0">
              <a:solidFill>
                <a:schemeClr val="tx1"/>
              </a:solidFill>
            </a:rPr>
            <a:t>  </a:t>
          </a:r>
          <a:r>
            <a:rPr lang="uk-UA" sz="1200" b="1" dirty="0">
              <a:solidFill>
                <a:schemeClr val="tx1"/>
              </a:solidFill>
            </a:rPr>
            <a:t>3,3</a:t>
          </a:r>
        </a:p>
      </cdr:txBody>
    </cdr:sp>
  </cdr:relSizeAnchor>
  <cdr:relSizeAnchor xmlns:cdr="http://schemas.openxmlformats.org/drawingml/2006/chartDrawing">
    <cdr:from>
      <cdr:x>0.29167</cdr:x>
      <cdr:y>0.64865</cdr:y>
    </cdr:from>
    <cdr:to>
      <cdr:x>0.34167</cdr:x>
      <cdr:y>0.7027</cdr:y>
    </cdr:to>
    <cdr:sp macro="" textlink="">
      <cdr:nvSpPr>
        <cdr:cNvPr id="5" name="Прямокутник 4"/>
        <cdr:cNvSpPr/>
      </cdr:nvSpPr>
      <cdr:spPr>
        <a:xfrm xmlns:a="http://schemas.openxmlformats.org/drawingml/2006/main" flipH="1">
          <a:off x="2520280" y="3456384"/>
          <a:ext cx="432048" cy="2880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200" b="1" dirty="0">
              <a:solidFill>
                <a:schemeClr val="tx1"/>
              </a:solidFill>
            </a:rPr>
            <a:t>2,9</a:t>
          </a:r>
        </a:p>
      </cdr:txBody>
    </cdr:sp>
  </cdr:relSizeAnchor>
  <cdr:relSizeAnchor xmlns:cdr="http://schemas.openxmlformats.org/drawingml/2006/chartDrawing">
    <cdr:from>
      <cdr:x>0.8189</cdr:x>
      <cdr:y>0.10512</cdr:y>
    </cdr:from>
    <cdr:to>
      <cdr:x>0.96644</cdr:x>
      <cdr:y>0.1757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7194021" y="535903"/>
          <a:ext cx="1296144" cy="360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uk-UA" sz="1600" b="1" dirty="0"/>
            <a:t>млрд. грн.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2329</cdr:x>
      <cdr:y>0.23272</cdr:y>
    </cdr:from>
    <cdr:to>
      <cdr:x>0.86959</cdr:x>
      <cdr:y>0.62764</cdr:y>
    </cdr:to>
    <cdr:sp macro="" textlink="">
      <cdr:nvSpPr>
        <cdr:cNvPr id="2" name="Прямокутник 1"/>
        <cdr:cNvSpPr/>
      </cdr:nvSpPr>
      <cdr:spPr bwMode="auto">
        <a:xfrm xmlns:a="http://schemas.openxmlformats.org/drawingml/2006/main">
          <a:off x="8928992" y="2376264"/>
          <a:ext cx="3528392" cy="403244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uk-UA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9D493D-57A4-4908-8D4A-19B75D24217A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DB974F-7BD8-49BD-83F0-44F529587EDF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60652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67827D-DDC2-4C6C-A55E-E5358E3DF2AB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454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0512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0512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3435350" y="849313"/>
            <a:ext cx="3057525" cy="2293937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027742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0512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0512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46306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/>
              <a:t>Зразок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044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 userDrawn="1"/>
        </p:nvSpPr>
        <p:spPr>
          <a:xfrm>
            <a:off x="1258888" y="387350"/>
            <a:ext cx="7345362" cy="738188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solidFill>
                  <a:prstClr val="white"/>
                </a:solidFill>
              </a:rPr>
              <a:t>МІНІСТЕРСТВО РЕГІОНАЛЬНОГО РОЗВИТКУ</a:t>
            </a:r>
          </a:p>
        </p:txBody>
      </p:sp>
    </p:spTree>
    <p:extLst>
      <p:ext uri="{BB962C8B-B14F-4D97-AF65-F5344CB8AC3E}">
        <p14:creationId xmlns:p14="http://schemas.microsoft.com/office/powerpoint/2010/main" val="2181443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143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4C8C96D-F6F1-4B7E-95CF-1A91D8C942B7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9484" y="1199760"/>
            <a:ext cx="7671521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600" y="6311912"/>
            <a:ext cx="788988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E9DE047-2961-4623-B7F7-AE98B42998D0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653188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8B9728F-861D-4F56-A866-9F5629174BC0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9484" y="1199760"/>
            <a:ext cx="7671521" cy="48019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600" y="6311912"/>
            <a:ext cx="788988" cy="455613"/>
          </a:xfrm>
          <a:prstGeom prst="rect">
            <a:avLst/>
          </a:prstGeom>
        </p:spPr>
        <p:txBody>
          <a:bodyPr lIns="91234" tIns="45617" rIns="91234" bIns="45617"/>
          <a:lstStyle>
            <a:lvl1pPr algn="r"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44AAB8-6D46-40D7-B4DB-57112B525F6B}" type="slidenum">
              <a:rPr lang="uk-UA"/>
              <a:pPr>
                <a:defRPr/>
              </a:pPr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925479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250827" y="6453188"/>
            <a:ext cx="8642350" cy="0"/>
          </a:xfrm>
          <a:prstGeom prst="line">
            <a:avLst/>
          </a:prstGeom>
          <a:ln w="1905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35"/>
          <p:cNvCxnSpPr>
            <a:cxnSpLocks noChangeShapeType="1"/>
          </p:cNvCxnSpPr>
          <p:nvPr userDrawn="1"/>
        </p:nvCxnSpPr>
        <p:spPr bwMode="auto">
          <a:xfrm>
            <a:off x="0" y="765175"/>
            <a:ext cx="9144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251520" y="836712"/>
            <a:ext cx="8640960" cy="54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3"/>
          </p:nvPr>
        </p:nvSpPr>
        <p:spPr>
          <a:xfrm>
            <a:off x="250827" y="6237336"/>
            <a:ext cx="8642350" cy="2160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4"/>
          </p:nvPr>
        </p:nvSpPr>
        <p:spPr>
          <a:xfrm>
            <a:off x="7235825" y="6524625"/>
            <a:ext cx="1657350" cy="293688"/>
          </a:xfrm>
          <a:prstGeom prst="rect">
            <a:avLst/>
          </a:prstGeom>
        </p:spPr>
        <p:txBody>
          <a:bodyPr/>
          <a:lstStyle>
            <a:lvl1pPr defTabSz="684578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E420E9B-5F95-4CCD-BAA5-A1FB06EE90F6}" type="slidenum">
              <a:rPr lang="ru-RU"/>
              <a:pPr>
                <a:defRPr/>
              </a:pPr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2749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76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63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6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uk-UA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63"/>
            <a:ext cx="2057400" cy="365125"/>
          </a:xfrm>
          <a:prstGeom prst="rect">
            <a:avLst/>
          </a:prstGeo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/>
                </a:solidFill>
              </a:rPr>
              <a:pPr/>
              <a:t>‹№›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61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59252-20DD-428F-8E10-D454514AEB13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5/22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E85E2-B4A9-471D-A87F-C4BD8B1F4B09}" type="slidenum">
              <a:rPr lang="en-US">
                <a:solidFill>
                  <a:prstClr val="black"/>
                </a:solidFill>
              </a:rPr>
              <a:pPr>
                <a:defRPr/>
              </a:pPr>
              <a:t>‹№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16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2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9144000" cy="801145"/>
          </a:xfrm>
          <a:prstGeom prst="rect">
            <a:avLst/>
          </a:prstGeom>
          <a:gradFill flip="none" rotWithShape="1">
            <a:gsLst>
              <a:gs pos="98000">
                <a:srgbClr val="F14124">
                  <a:lumMod val="20000"/>
                  <a:lumOff val="80000"/>
                </a:srgbClr>
              </a:gs>
              <a:gs pos="81000">
                <a:sysClr val="window" lastClr="FFFFFF">
                  <a:alpha val="62000"/>
                </a:sysClr>
              </a:gs>
              <a:gs pos="0">
                <a:srgbClr val="B4DCFA">
                  <a:alpha val="79000"/>
                </a:srgbClr>
              </a:gs>
            </a:gsLst>
            <a:lin ang="2400000" scaled="0"/>
            <a:tileRect/>
          </a:gradFill>
          <a:ln w="158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 dirty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Рисунок 2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48500" y="2"/>
            <a:ext cx="2092569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640515"/>
            <a:ext cx="9144000" cy="217487"/>
          </a:xfrm>
          <a:prstGeom prst="rect">
            <a:avLst/>
          </a:prstGeom>
          <a:solidFill>
            <a:srgbClr val="C8D6F0"/>
          </a:solidFill>
          <a:ln>
            <a:noFill/>
          </a:ln>
          <a:extLst/>
        </p:spPr>
        <p:txBody>
          <a:bodyPr wrap="none" tIns="68580" bIns="6858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fld id="{92E146E4-D1D8-4F5B-804D-EA746B37FEEC}" type="slidenum">
              <a:rPr lang="uk-UA" altLang="ru-RU" sz="900" b="1" smtClean="0"/>
              <a:pPr algn="ctr" eaLnBrk="1" hangingPunct="1">
                <a:defRPr/>
              </a:pPr>
              <a:t>‹№›</a:t>
            </a:fld>
            <a:endParaRPr lang="uk-UA" altLang="ru-RU" sz="900" b="1"/>
          </a:p>
        </p:txBody>
      </p:sp>
    </p:spTree>
    <p:extLst>
      <p:ext uri="{BB962C8B-B14F-4D97-AF65-F5344CB8AC3E}">
        <p14:creationId xmlns:p14="http://schemas.microsoft.com/office/powerpoint/2010/main" val="13733478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51047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202260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64029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29145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92912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971118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1067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311078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188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439928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432053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 txBox="1">
            <a:spLocks/>
          </p:cNvSpPr>
          <p:nvPr userDrawn="1"/>
        </p:nvSpPr>
        <p:spPr bwMode="auto">
          <a:xfrm>
            <a:off x="8748719" y="-26988"/>
            <a:ext cx="395287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37" tIns="34268" rIns="68537" bIns="34268" anchor="b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CD35829-2CE1-4DC4-8083-2E9762D04926}" type="slidenum">
              <a:rPr lang="uk-UA" sz="975" b="1" smtClean="0">
                <a:solidFill>
                  <a:srgbClr val="FFFFFF"/>
                </a:solidFill>
                <a:latin typeface="Calibri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75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663757" y="6535748"/>
            <a:ext cx="38023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683419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D3EF7151-1B39-47F7-9B4C-4B05C55B9A27}" type="slidenum">
              <a:rPr lang="uk-UA" sz="900" smtClean="0">
                <a:solidFill>
                  <a:srgbClr val="7F7F7F"/>
                </a:solidFill>
                <a:latin typeface="Calibri" pitchFamily="34" charset="0"/>
              </a:rPr>
              <a:pPr algn="r" defTabSz="68341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№›</a:t>
            </a:fld>
            <a:endParaRPr lang="uk-UA" sz="900" dirty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5587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Зразок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'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0A66AE-81F5-474A-B74B-EE41E9320F19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F593F-0D5B-4CF0-BEE2-6583C73E7271}" type="slidenum">
              <a:rPr lang="uk-UA" smtClean="0"/>
              <a:t>‹№›</a:t>
            </a:fld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 txBox="1">
            <a:spLocks/>
          </p:cNvSpPr>
          <p:nvPr/>
        </p:nvSpPr>
        <p:spPr>
          <a:xfrm>
            <a:off x="971550" y="120650"/>
            <a:ext cx="8077200" cy="609600"/>
          </a:xfrm>
          <a:prstGeom prst="rect">
            <a:avLst/>
          </a:prstGeom>
        </p:spPr>
        <p:txBody>
          <a:bodyPr lIns="0" tIns="0" rIns="0" bIns="0"/>
          <a:lstStyle>
            <a:lvl1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12527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3154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86308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294623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726166" algn="l" defTabSz="912527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defRPr/>
            </a:pPr>
            <a:endParaRPr lang="uk-UA" sz="1500" spc="-23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cxnSp>
        <p:nvCxnSpPr>
          <p:cNvPr id="3075" name="Straight Connector 2"/>
          <p:cNvCxnSpPr>
            <a:cxnSpLocks noChangeShapeType="1"/>
          </p:cNvCxnSpPr>
          <p:nvPr/>
        </p:nvCxnSpPr>
        <p:spPr bwMode="auto">
          <a:xfrm>
            <a:off x="0" y="765175"/>
            <a:ext cx="9144000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6" name="Straight Connector 12"/>
          <p:cNvCxnSpPr>
            <a:cxnSpLocks noChangeShapeType="1"/>
          </p:cNvCxnSpPr>
          <p:nvPr/>
        </p:nvCxnSpPr>
        <p:spPr bwMode="auto">
          <a:xfrm>
            <a:off x="0" y="836613"/>
            <a:ext cx="9144000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077" name="Picture 11" descr="minregion_logo_concept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412"/>
          <a:stretch>
            <a:fillRect/>
          </a:stretch>
        </p:blipFill>
        <p:spPr bwMode="auto">
          <a:xfrm>
            <a:off x="250827" y="9525"/>
            <a:ext cx="534988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6048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hf sldNum="0" hdr="0" ftr="0" dt="0"/>
  <p:txStyles>
    <p:titleStyle>
      <a:lvl1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2pPr>
      <a:lvl3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3pPr>
      <a:lvl4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4pPr>
      <a:lvl5pPr algn="l" defTabSz="683419" rtl="0" eaLnBrk="0" fontAlgn="base" hangingPunct="0">
        <a:spcBef>
          <a:spcPct val="0"/>
        </a:spcBef>
        <a:spcAft>
          <a:spcPct val="0"/>
        </a:spcAft>
        <a:defRPr sz="1425" b="1">
          <a:solidFill>
            <a:schemeClr val="tx1"/>
          </a:solidFill>
          <a:latin typeface="Arial" pitchFamily="34" charset="0"/>
          <a:ea typeface="MS PGothic" pitchFamily="34" charset="-128"/>
        </a:defRPr>
      </a:lvl5pPr>
      <a:lvl6pPr marL="323657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47312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970967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294625" algn="l" defTabSz="684395" rtl="0" fontAlgn="base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35731" indent="-13573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125">
          <a:solidFill>
            <a:schemeClr val="tx1"/>
          </a:solidFill>
          <a:latin typeface="+mn-lt"/>
          <a:ea typeface="+mn-ea"/>
          <a:cs typeface="+mn-cs"/>
        </a:defRPr>
      </a:lvl1pPr>
      <a:lvl2pPr marL="403622" indent="-13454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2pPr>
      <a:lvl3pPr marL="675085" indent="-13454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3pPr>
      <a:lvl4pPr marL="941785" indent="-130969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4pPr>
      <a:lvl5pPr marL="1213247" indent="-135731" algn="l" defTabSz="683419" rtl="0" eaLnBrk="0" fontAlgn="base" hangingPunct="0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975">
          <a:solidFill>
            <a:schemeClr val="tx1"/>
          </a:solidFill>
          <a:latin typeface="+mn-lt"/>
          <a:ea typeface="+mn-ea"/>
        </a:defRPr>
      </a:lvl5pPr>
      <a:lvl6pPr marL="1537367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6pPr>
      <a:lvl7pPr marL="1861023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7pPr>
      <a:lvl8pPr marL="2184680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8pPr>
      <a:lvl9pPr marL="2508340" indent="-135978" algn="l" defTabSz="684395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8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2365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47312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97096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294625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18283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1941937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265593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589249" algn="l" defTabSz="647312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5AC50B-287A-4F75-94DF-577CB3E5F31C}" type="datetimeFigureOut">
              <a:rPr lang="uk-UA" smtClean="0"/>
              <a:t>22.05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C95EC7-FD1E-49C4-A68F-8396929212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675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"/>
          <p:cNvSpPr txBox="1">
            <a:spLocks noChangeArrowheads="1"/>
          </p:cNvSpPr>
          <p:nvPr/>
        </p:nvSpPr>
        <p:spPr>
          <a:xfrm>
            <a:off x="845586" y="3358141"/>
            <a:ext cx="7884876" cy="286883"/>
          </a:xfrm>
          <a:prstGeom prst="rect">
            <a:avLst/>
          </a:prstGeom>
          <a:ln>
            <a:noFill/>
          </a:ln>
        </p:spPr>
        <p:txBody>
          <a:bodyPr vert="horz" lIns="66945" tIns="33475" rIns="66945" bIns="33475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СТАН ВПРОВАДЖЕННЯ </a:t>
            </a:r>
          </a:p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ЗАКОНІВ УКРАЇНИ </a:t>
            </a:r>
          </a:p>
          <a:p>
            <a:pPr marL="0" indent="0" algn="ctr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r>
              <a:rPr lang="uk-UA" altLang="ru-RU" sz="3600" b="1" dirty="0">
                <a:solidFill>
                  <a:srgbClr val="1F497D"/>
                </a:solidFill>
                <a:latin typeface="Calibri" pitchFamily="34" charset="0"/>
                <a:cs typeface="Arial" pitchFamily="34" charset="0"/>
              </a:rPr>
              <a:t>«ПРО ДОБРОВІЛЬНЕ ОБ’ЄДНАННЯ ТЕРИТОРІАЛЬНИХ ГРОМАД» та                «ПРО СПІВРОБІТНИЦТВО ТЕРИТОРІАЛЬНИХ ГРОМАД» </a:t>
            </a:r>
          </a:p>
        </p:txBody>
      </p:sp>
      <p:sp>
        <p:nvSpPr>
          <p:cNvPr id="59" name="Rectangle 3"/>
          <p:cNvSpPr txBox="1">
            <a:spLocks noChangeArrowheads="1"/>
          </p:cNvSpPr>
          <p:nvPr/>
        </p:nvSpPr>
        <p:spPr>
          <a:xfrm>
            <a:off x="845587" y="970183"/>
            <a:ext cx="8046893" cy="286883"/>
          </a:xfrm>
          <a:prstGeom prst="rect">
            <a:avLst/>
          </a:prstGeom>
          <a:ln>
            <a:noFill/>
          </a:ln>
        </p:spPr>
        <p:txBody>
          <a:bodyPr vert="horz" lIns="66945" tIns="33475" rIns="66945" bIns="33475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 fontAlgn="base">
              <a:spcAft>
                <a:spcPct val="0"/>
              </a:spcAft>
              <a:buNone/>
              <a:tabLst>
                <a:tab pos="659459" algn="l"/>
              </a:tabLst>
            </a:pPr>
            <a:endParaRPr lang="uk-UA" altLang="ru-RU" sz="1650" b="1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" name="Прямокутник 1"/>
          <p:cNvSpPr/>
          <p:nvPr/>
        </p:nvSpPr>
        <p:spPr>
          <a:xfrm>
            <a:off x="971600" y="-22442"/>
            <a:ext cx="79208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base">
              <a:spcAft>
                <a:spcPct val="0"/>
              </a:spcAft>
              <a:tabLst>
                <a:tab pos="659459" algn="l"/>
              </a:tabLst>
            </a:pPr>
            <a:r>
              <a:rPr lang="uk-UA" altLang="ru-RU" b="1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МІНІСТЕРСТВО РЕГІОНАЛЬНОГО РОЗВИТКУ, БУДІВНИЦТВА ТА ЖИТЛОВО-КОМУНАЛЬНОГО ГОСПОДАРСТВА УКРАЇНИ</a:t>
            </a:r>
          </a:p>
        </p:txBody>
      </p:sp>
    </p:spTree>
    <p:extLst>
      <p:ext uri="{BB962C8B-B14F-4D97-AF65-F5344CB8AC3E}">
        <p14:creationId xmlns:p14="http://schemas.microsoft.com/office/powerpoint/2010/main" val="8603061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кутник 54"/>
          <p:cNvSpPr/>
          <p:nvPr/>
        </p:nvSpPr>
        <p:spPr>
          <a:xfrm>
            <a:off x="534552" y="1340768"/>
            <a:ext cx="835292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600" dirty="0"/>
              <a:t>- невідповідність напрямкам використання коштів,                         (</a:t>
            </a:r>
            <a:r>
              <a:rPr lang="uk-UA" sz="1600" i="1" dirty="0"/>
              <a:t>визначених постановою Кабінету Міністрів України від 16.03.2016  № 200 «Деякі питання надання субвенції з державного бюджету місцевим бюджетам на формування інфраструктури об’єднаних територіальних громад»);</a:t>
            </a:r>
          </a:p>
          <a:p>
            <a:pPr algn="just"/>
            <a:r>
              <a:rPr lang="uk-UA" sz="1600" dirty="0"/>
              <a:t>- невідповідність формі проектної заявки (затвердженої 83 наказом   Мінрегіону);</a:t>
            </a:r>
          </a:p>
          <a:p>
            <a:pPr algn="just"/>
            <a:r>
              <a:rPr lang="uk-UA" sz="1600" dirty="0"/>
              <a:t>-    невідповідність плану соціально-економічного розвитку ОТГ;</a:t>
            </a:r>
          </a:p>
          <a:p>
            <a:pPr marL="257175" indent="-257175" algn="just">
              <a:buFontTx/>
              <a:buChar char="-"/>
            </a:pPr>
            <a:r>
              <a:rPr lang="uk-UA" sz="1600" dirty="0"/>
              <a:t>відсутність розрахунків бюджетної частини проектної заявки;</a:t>
            </a:r>
          </a:p>
          <a:p>
            <a:pPr marL="257175" indent="-257175" algn="just">
              <a:buFontTx/>
              <a:buChar char="-"/>
            </a:pPr>
            <a:r>
              <a:rPr lang="uk-UA" sz="1600" dirty="0"/>
              <a:t>відсутність розрахунків економічної ефективності від реалізації проекту;</a:t>
            </a:r>
          </a:p>
          <a:p>
            <a:pPr marL="257175" indent="-257175" algn="just">
              <a:buFontTx/>
              <a:buChar char="-"/>
            </a:pPr>
            <a:r>
              <a:rPr lang="uk-UA" sz="1600" dirty="0"/>
              <a:t>закупівля спеціалізованої техніки без утворення комунальних підприємств і пожежних депо;</a:t>
            </a:r>
          </a:p>
          <a:p>
            <a:pPr marL="257175" indent="-257175" algn="just">
              <a:buFontTx/>
              <a:buChar char="-"/>
            </a:pPr>
            <a:r>
              <a:rPr lang="uk-UA" sz="1600" dirty="0"/>
              <a:t>відсутність переліку заходів та їх об’єм, які передбачаються проектом, а також кошторисною документацією</a:t>
            </a:r>
          </a:p>
        </p:txBody>
      </p:sp>
      <p:sp>
        <p:nvSpPr>
          <p:cNvPr id="122" name="Rectangle 3"/>
          <p:cNvSpPr txBox="1">
            <a:spLocks noChangeArrowheads="1"/>
          </p:cNvSpPr>
          <p:nvPr/>
        </p:nvSpPr>
        <p:spPr bwMode="auto">
          <a:xfrm>
            <a:off x="1709528" y="188640"/>
            <a:ext cx="6002977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2100" b="1" dirty="0">
                <a:solidFill>
                  <a:schemeClr val="accent1"/>
                </a:solidFill>
                <a:latin typeface="Calibri" pitchFamily="34" charset="0"/>
              </a:rPr>
              <a:t>ОСНОВНІ ЗАУВАЖЕННЯ ДО ПРОЕКТНИХ ЗАЯВОК</a:t>
            </a:r>
          </a:p>
        </p:txBody>
      </p:sp>
    </p:spTree>
    <p:extLst>
      <p:ext uri="{BB962C8B-B14F-4D97-AF65-F5344CB8AC3E}">
        <p14:creationId xmlns:p14="http://schemas.microsoft.com/office/powerpoint/2010/main" val="19453011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755577" y="174745"/>
            <a:ext cx="7260570" cy="59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575" b="1" dirty="0">
                <a:solidFill>
                  <a:srgbClr val="1D89CB"/>
                </a:solidFill>
                <a:latin typeface="Cambria" panose="02040503050406030204" pitchFamily="18" charset="0"/>
              </a:rPr>
              <a:t>СПІВРОБІТНИЦТВО ТЕРИТОРІАЛЬНИХ ГРОМАД</a:t>
            </a:r>
          </a:p>
        </p:txBody>
      </p:sp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856370" y="860256"/>
            <a:ext cx="8275638" cy="5521072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825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5" y="401446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latin typeface="Calibri" panose="020F0502020204030204"/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2054157" y="2564904"/>
            <a:ext cx="729840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943101" y="1808820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658504" y="1851766"/>
            <a:ext cx="80128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220969" y="1970838"/>
            <a:ext cx="70295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755577" y="2985846"/>
            <a:ext cx="727208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278614" y="3309882"/>
            <a:ext cx="647798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1547664" y="2931840"/>
            <a:ext cx="914769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556475" y="2391780"/>
            <a:ext cx="576887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646185" y="2510944"/>
            <a:ext cx="712061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275856" y="2769822"/>
            <a:ext cx="558634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Вінницька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3923928" y="2121750"/>
            <a:ext cx="51592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572000" y="2715816"/>
            <a:ext cx="58309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3761910" y="3525906"/>
            <a:ext cx="50315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4355976" y="3525906"/>
            <a:ext cx="755275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201231" y="3835948"/>
            <a:ext cx="621951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ерсонська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030163" y="3537012"/>
            <a:ext cx="60923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4798977" y="3093858"/>
            <a:ext cx="74513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5647303" y="3093858"/>
            <a:ext cx="852269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148065" y="2445786"/>
            <a:ext cx="606707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Полта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586116" y="1700808"/>
            <a:ext cx="68796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292081" y="1754814"/>
            <a:ext cx="1106800" cy="19620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6345521" y="2456892"/>
            <a:ext cx="609812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218294" y="2672916"/>
            <a:ext cx="590326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865941" y="3039852"/>
            <a:ext cx="553563" cy="196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355977" y="2304063"/>
            <a:ext cx="431321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Calibri" panose="020F0502020204030204"/>
                <a:cs typeface="Arial" pitchFamily="34" charset="0"/>
              </a:rPr>
              <a:t>м. Київ</a:t>
            </a:r>
          </a:p>
        </p:txBody>
      </p:sp>
      <p:graphicFrame>
        <p:nvGraphicFramePr>
          <p:cNvPr id="194" name="Table 1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9278185"/>
              </p:ext>
            </p:extLst>
          </p:nvPr>
        </p:nvGraphicFramePr>
        <p:xfrm>
          <a:off x="130063" y="3701565"/>
          <a:ext cx="7722858" cy="24460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8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39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7442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3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и</a:t>
                      </a:r>
                    </a:p>
                    <a:p>
                      <a:pPr algn="ctr"/>
                      <a:endParaRPr lang="uk-UA" sz="800" b="1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13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</a:p>
                    <a:p>
                      <a:pPr algn="ctr"/>
                      <a:endParaRPr lang="uk-UA" sz="800" b="1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32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  <a:endParaRPr lang="uk-UA" sz="800" b="1" noProof="0" dirty="0">
                        <a:solidFill>
                          <a:schemeClr val="bg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Транспортне обслуговування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Ремонт дорожнього покритт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Придбання спеціальної техніки для комунальних підприємств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(збирання і вивезення сміття) та поводження із ТП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21     проект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Освітні заклади (дошкільні, шкільні)</a:t>
                      </a: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7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проекті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noProof="0" dirty="0">
                        <a:latin typeface="Cambria" panose="020405030504060302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noProof="0" dirty="0">
                          <a:latin typeface="Cambria" panose="02040503050406030204" pitchFamily="18" charset="0"/>
                        </a:rPr>
                        <a:t>Медичні</a:t>
                      </a:r>
                      <a:r>
                        <a:rPr lang="uk-UA" sz="800" baseline="0" noProof="0" dirty="0">
                          <a:latin typeface="Cambria" panose="02040503050406030204" pitchFamily="18" charset="0"/>
                        </a:rPr>
                        <a:t> установи</a:t>
                      </a: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5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ів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800" kern="1200" baseline="0" noProof="0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Пожежні ДЕПО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1 </a:t>
                      </a:r>
                    </a:p>
                    <a:p>
                      <a:pPr algn="ctr"/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проект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kern="1200" baseline="0" noProof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Централізоване водопостачання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8" name="Прямоугольник 181"/>
          <p:cNvSpPr/>
          <p:nvPr/>
        </p:nvSpPr>
        <p:spPr>
          <a:xfrm>
            <a:off x="2016841" y="1943857"/>
            <a:ext cx="503373" cy="12912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8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2" name="Прямоугольник 181"/>
          <p:cNvSpPr/>
          <p:nvPr/>
        </p:nvSpPr>
        <p:spPr>
          <a:xfrm>
            <a:off x="3372629" y="291384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3" name="Прямоугольник 181"/>
          <p:cNvSpPr/>
          <p:nvPr/>
        </p:nvSpPr>
        <p:spPr>
          <a:xfrm>
            <a:off x="6005202" y="3245819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3" name="Прямоугольник 181"/>
          <p:cNvSpPr/>
          <p:nvPr/>
        </p:nvSpPr>
        <p:spPr>
          <a:xfrm>
            <a:off x="3337700" y="2156604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 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7" name="Прямоугольник 181"/>
          <p:cNvSpPr/>
          <p:nvPr/>
        </p:nvSpPr>
        <p:spPr>
          <a:xfrm>
            <a:off x="1123203" y="3158971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0" name="Прямоугольник 181"/>
          <p:cNvSpPr/>
          <p:nvPr/>
        </p:nvSpPr>
        <p:spPr>
          <a:xfrm>
            <a:off x="1714960" y="3109888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0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3" name="Прямоугольник 181"/>
          <p:cNvSpPr/>
          <p:nvPr/>
        </p:nvSpPr>
        <p:spPr>
          <a:xfrm>
            <a:off x="4139952" y="2564904"/>
            <a:ext cx="420723" cy="1848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2" name="Прямоугольник 181"/>
          <p:cNvSpPr/>
          <p:nvPr/>
        </p:nvSpPr>
        <p:spPr>
          <a:xfrm>
            <a:off x="3786847" y="369179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ru-RU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216" name="Прямоугольник 181"/>
          <p:cNvSpPr/>
          <p:nvPr/>
        </p:nvSpPr>
        <p:spPr>
          <a:xfrm>
            <a:off x="5333362" y="2597479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34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4" name="Прямоугольник 181"/>
          <p:cNvSpPr/>
          <p:nvPr/>
        </p:nvSpPr>
        <p:spPr>
          <a:xfrm>
            <a:off x="5387368" y="1916833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0" name="Прямоугольник 181"/>
          <p:cNvSpPr/>
          <p:nvPr/>
        </p:nvSpPr>
        <p:spPr>
          <a:xfrm>
            <a:off x="2743383" y="267784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4" name="Прямоугольник 181"/>
          <p:cNvSpPr/>
          <p:nvPr/>
        </p:nvSpPr>
        <p:spPr>
          <a:xfrm>
            <a:off x="4450248" y="2881618"/>
            <a:ext cx="416614" cy="1501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5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6" name="Прямоугольник 181"/>
          <p:cNvSpPr/>
          <p:nvPr/>
        </p:nvSpPr>
        <p:spPr>
          <a:xfrm>
            <a:off x="4698860" y="1906517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7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1" name="Rectangle 3"/>
          <p:cNvSpPr txBox="1">
            <a:spLocks noChangeArrowheads="1"/>
          </p:cNvSpPr>
          <p:nvPr/>
        </p:nvSpPr>
        <p:spPr bwMode="auto">
          <a:xfrm>
            <a:off x="70644" y="1289129"/>
            <a:ext cx="1571453" cy="10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endParaRPr lang="uk-UA" altLang="ru-RU" sz="1050" dirty="0">
              <a:solidFill>
                <a:prstClr val="black">
                  <a:lumMod val="75000"/>
                  <a:lumOff val="25000"/>
                </a:prstClr>
              </a:solidFill>
              <a:latin typeface="Cambria" panose="02040503050406030204" pitchFamily="18" charset="0"/>
            </a:endParaRPr>
          </a:p>
        </p:txBody>
      </p:sp>
      <p:sp>
        <p:nvSpPr>
          <p:cNvPr id="202" name="Rectangle 3"/>
          <p:cNvSpPr txBox="1">
            <a:spLocks noChangeArrowheads="1"/>
          </p:cNvSpPr>
          <p:nvPr/>
        </p:nvSpPr>
        <p:spPr bwMode="auto">
          <a:xfrm>
            <a:off x="197514" y="2294874"/>
            <a:ext cx="1296144" cy="44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anose="02040503050406030204" pitchFamily="18" charset="0"/>
              </a:rPr>
              <a:t>Договорів </a:t>
            </a:r>
          </a:p>
          <a:p>
            <a:pPr algn="ctr"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mbria" panose="02040503050406030204" pitchFamily="18" charset="0"/>
              </a:rPr>
              <a:t>(більше 397 громад)</a:t>
            </a:r>
          </a:p>
        </p:txBody>
      </p:sp>
      <p:sp>
        <p:nvSpPr>
          <p:cNvPr id="205" name="Rectangle 3"/>
          <p:cNvSpPr txBox="1">
            <a:spLocks noChangeArrowheads="1"/>
          </p:cNvSpPr>
          <p:nvPr/>
        </p:nvSpPr>
        <p:spPr bwMode="auto">
          <a:xfrm>
            <a:off x="464293" y="1891116"/>
            <a:ext cx="1027858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4050" b="1" dirty="0">
                <a:solidFill>
                  <a:srgbClr val="1D89CB"/>
                </a:solidFill>
                <a:latin typeface="Calibri" pitchFamily="34" charset="0"/>
              </a:rPr>
              <a:t>82</a:t>
            </a:r>
            <a:endParaRPr lang="uk-UA" altLang="ru-RU" sz="240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sp>
        <p:nvSpPr>
          <p:cNvPr id="225" name="Rectangle 3"/>
          <p:cNvSpPr txBox="1">
            <a:spLocks noChangeArrowheads="1"/>
          </p:cNvSpPr>
          <p:nvPr/>
        </p:nvSpPr>
        <p:spPr bwMode="auto">
          <a:xfrm>
            <a:off x="1115616" y="2029768"/>
            <a:ext cx="217899" cy="21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85800" eaLnBrk="1" fontAlgn="base" hangingPunct="1">
              <a:spcBef>
                <a:spcPct val="20000"/>
              </a:spcBef>
              <a:spcAft>
                <a:spcPct val="0"/>
              </a:spcAft>
              <a:tabLst>
                <a:tab pos="658416" algn="l"/>
              </a:tabLst>
            </a:pPr>
            <a:endParaRPr lang="uk-UA" altLang="ru-RU" sz="1050" b="1" dirty="0">
              <a:solidFill>
                <a:srgbClr val="1D89CB"/>
              </a:solidFill>
              <a:latin typeface="Calibri" pitchFamily="34" charset="0"/>
            </a:endParaRPr>
          </a:p>
        </p:txBody>
      </p:sp>
      <p:sp>
        <p:nvSpPr>
          <p:cNvPr id="97" name="Прямоугольник 181"/>
          <p:cNvSpPr/>
          <p:nvPr/>
        </p:nvSpPr>
        <p:spPr>
          <a:xfrm>
            <a:off x="4902944" y="3294400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504" y="2536746"/>
            <a:ext cx="414337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" name="Прямоугольник 181"/>
          <p:cNvSpPr/>
          <p:nvPr/>
        </p:nvSpPr>
        <p:spPr>
          <a:xfrm>
            <a:off x="6465858" y="2647518"/>
            <a:ext cx="416614" cy="1365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glow>
              <a:schemeClr val="accent1">
                <a:alpha val="40000"/>
              </a:schemeClr>
            </a:glow>
            <a:softEdge rad="254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anchor="ctr"/>
          <a:lstStyle/>
          <a:p>
            <a:pPr algn="ctr" defTabSz="684578">
              <a:defRPr/>
            </a:pPr>
            <a:r>
              <a:rPr lang="uk-UA" sz="75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lang="ru-RU" sz="75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357928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504056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Основні переваги об'єднаних територіальних громад</a:t>
            </a: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87" y="3765202"/>
            <a:ext cx="4281697" cy="2976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круглена прямокутна виноска 4"/>
          <p:cNvSpPr/>
          <p:nvPr/>
        </p:nvSpPr>
        <p:spPr>
          <a:xfrm>
            <a:off x="251520" y="620688"/>
            <a:ext cx="4176464" cy="3312368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177800" algn="just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'єднані громади</a:t>
            </a: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діляються додатковими повноваженнями та відповідними фінансовими  ресурсами, в яких залишається:</a:t>
            </a:r>
          </a:p>
          <a:p>
            <a:pPr lvl="0" algn="just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 податку на доходи фізичних осіб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 екологічного податку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 акцизного податку з роздрібної торгівлі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єдиного податку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податку на прибуток установ комунальної власності та фінансових установ комунальної власності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податку на майно (нерухомість, земля, транспорт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ші збори та платежі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жбюджетні трансферти (дотації, субвенції) та надходження в рамках програм і допомог</a:t>
            </a:r>
          </a:p>
          <a:p>
            <a:pPr algn="ctr"/>
            <a:endParaRPr lang="uk-UA" dirty="0"/>
          </a:p>
        </p:txBody>
      </p:sp>
      <p:sp>
        <p:nvSpPr>
          <p:cNvPr id="8" name="Округлений прямокутник 7"/>
          <p:cNvSpPr/>
          <p:nvPr/>
        </p:nvSpPr>
        <p:spPr>
          <a:xfrm>
            <a:off x="4644008" y="620688"/>
            <a:ext cx="4248472" cy="583264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uk-UA" sz="1200" dirty="0">
              <a:solidFill>
                <a:schemeClr val="tx1"/>
              </a:solidFill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</a:pP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spcBef>
                <a:spcPts val="600"/>
              </a:spcBef>
              <a:spcAft>
                <a:spcPts val="600"/>
              </a:spcAft>
            </a:pPr>
            <a:endParaRPr lang="uk-UA" sz="800" b="1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spcBef>
                <a:spcPts val="600"/>
              </a:spcBef>
              <a:spcAft>
                <a:spcPts val="600"/>
              </a:spcAft>
            </a:pP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'єднані громади отримали можливість</a:t>
            </a: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йти на прямі міжбюджетні відносини з державним бюджетом;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имувати з державного бюджету кошти на формування інфраструктури згідно з планом соціально-економічного розвитку територіальної громади;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стійно вирішувати питання розвитку своєї території  та виконувати власні повноваження;</a:t>
            </a:r>
          </a:p>
          <a:p>
            <a:pPr marL="17145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ономити бюджетні кошти на утримання органів управління та інфраструктури; 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конувати делеговані державні повноваження, зокрема: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авати соціальну допомогу населенню через територіальні центри (в громадах)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іністративні послуги через центри їх надання (в громадах)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іння школами та дитсадками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ізація первинної медичної допомоги;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римання та організація роботи будинків культури, клубів, бібліотек, стадіонів, спортивних залів, інших закладів та установ</a:t>
            </a:r>
          </a:p>
          <a:p>
            <a:pPr marL="171450" lvl="0" indent="-1714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uk-UA" sz="1200" dirty="0">
              <a:solidFill>
                <a:schemeClr val="tx1"/>
              </a:solidFill>
            </a:endParaRPr>
          </a:p>
          <a:p>
            <a:pPr algn="ctr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477593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"/>
          <p:cNvSpPr txBox="1"/>
          <p:nvPr/>
        </p:nvSpPr>
        <p:spPr>
          <a:xfrm>
            <a:off x="683568" y="2390254"/>
            <a:ext cx="83709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uk-UA" sz="2700" b="1" dirty="0">
                <a:solidFill>
                  <a:srgbClr val="1F497D"/>
                </a:solidFill>
                <a:latin typeface="Calibri" pitchFamily="34" charset="0"/>
              </a:rPr>
              <a:t>ДЯКУЮ ЗА УВАГУ !</a:t>
            </a:r>
          </a:p>
          <a:p>
            <a:pPr marL="214313" indent="-214313" defTabSz="685800">
              <a:buFontTx/>
              <a:buChar char="-"/>
            </a:pPr>
            <a:endParaRPr lang="uk-UA" sz="1500" dirty="0">
              <a:solidFill>
                <a:prstClr val="black"/>
              </a:solidFill>
              <a:latin typeface="Calibri" pitchFamily="34" charset="0"/>
            </a:endParaRPr>
          </a:p>
          <a:p>
            <a:pPr marL="214313" indent="-214313" defTabSz="685800">
              <a:buFontTx/>
              <a:buChar char="-"/>
            </a:pPr>
            <a:endParaRPr lang="uk-UA" sz="1500" dirty="0">
              <a:solidFill>
                <a:prstClr val="black"/>
              </a:solidFill>
              <a:latin typeface="Calibri" pitchFamily="34" charset="0"/>
            </a:endParaRPr>
          </a:p>
          <a:p>
            <a:pPr defTabSz="685800"/>
            <a:r>
              <a:rPr lang="uk-UA" sz="1500" dirty="0">
                <a:solidFill>
                  <a:prstClr val="black"/>
                </a:solidFill>
                <a:latin typeface="Calibri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8856985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648072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b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Державна політика та законодавчі зміни</a:t>
            </a:r>
            <a:b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щодо децентралізації та реформування місцевого самоврядування в Україні</a:t>
            </a:r>
            <a:br>
              <a:rPr lang="uk-UA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Блок-схема: процес 3"/>
          <p:cNvSpPr/>
          <p:nvPr/>
        </p:nvSpPr>
        <p:spPr>
          <a:xfrm>
            <a:off x="251520" y="764704"/>
            <a:ext cx="8712968" cy="504056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ія реформування місцевого самоврядування та територіальної організації влади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тверджено Урядом 1 квітня 2014 року).  </a:t>
            </a: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заходів щодо реалізації Концепції 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1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верджено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рядом 18 </a:t>
            </a:r>
            <a:r>
              <a:rPr lang="ru-RU" sz="11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вня</a:t>
            </a:r>
            <a:r>
              <a:rPr lang="ru-RU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4 року)</a:t>
            </a:r>
            <a:endParaRPr lang="uk-UA" sz="11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uk-UA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Блок-схема: процес 7"/>
          <p:cNvSpPr/>
          <p:nvPr/>
        </p:nvSpPr>
        <p:spPr>
          <a:xfrm>
            <a:off x="2411760" y="1556792"/>
            <a:ext cx="4320480" cy="432000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зиції</a:t>
            </a:r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 до Конституції України</a:t>
            </a:r>
          </a:p>
          <a:p>
            <a:pPr algn="ctr"/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хвалено у першому читанні 31 серпня 2015 році) </a:t>
            </a:r>
          </a:p>
        </p:txBody>
      </p:sp>
      <p:sp>
        <p:nvSpPr>
          <p:cNvPr id="10" name="Блок-схема: процес 9"/>
          <p:cNvSpPr/>
          <p:nvPr/>
        </p:nvSpPr>
        <p:spPr>
          <a:xfrm>
            <a:off x="251520" y="2132856"/>
            <a:ext cx="8712968" cy="432000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вче забезпечення реформи – основні завдання та відповідні законодавчі акти</a:t>
            </a:r>
            <a:endParaRPr lang="uk-UA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Блок-схема: процес 10"/>
          <p:cNvSpPr/>
          <p:nvPr/>
        </p:nvSpPr>
        <p:spPr>
          <a:xfrm>
            <a:off x="251520" y="2636912"/>
            <a:ext cx="2808000" cy="612000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цнення фінансової автономії та  спроможності місцевого самоврядування</a:t>
            </a:r>
            <a:endParaRPr lang="uk-UA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Блок-схема: процес 11"/>
          <p:cNvSpPr/>
          <p:nvPr/>
        </p:nvSpPr>
        <p:spPr>
          <a:xfrm>
            <a:off x="3203848" y="2636912"/>
            <a:ext cx="2808000" cy="612000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орення нової територіальної основи для діяльності органів місцевого самоврядування</a:t>
            </a:r>
          </a:p>
        </p:txBody>
      </p:sp>
      <p:sp>
        <p:nvSpPr>
          <p:cNvPr id="13" name="Блок-схема: процес 12"/>
          <p:cNvSpPr/>
          <p:nvPr/>
        </p:nvSpPr>
        <p:spPr>
          <a:xfrm>
            <a:off x="6156176" y="2636912"/>
            <a:ext cx="2808000" cy="612648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ширення повноважень органів місцевого самоврядування</a:t>
            </a:r>
          </a:p>
        </p:txBody>
      </p:sp>
      <p:sp>
        <p:nvSpPr>
          <p:cNvPr id="15" name="Прямокутна виноска 14"/>
          <p:cNvSpPr/>
          <p:nvPr/>
        </p:nvSpPr>
        <p:spPr>
          <a:xfrm>
            <a:off x="251520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 до Бюджетного і Податкового кодексів України</a:t>
            </a:r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грудня 2014 р. та 2015-16 роках)</a:t>
            </a:r>
          </a:p>
          <a:p>
            <a:pPr indent="2667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іплено за місцевими бюджетами стабільні джерела доходів;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ширено дохідну  базу місцевих бюджетів, в тому числі  за рахунок запровадження місцевих податків і зборів та встановлення їх  ставок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оваджено горизонтальне вирівнювання податкоспроможності територій залежно від рівня надходжень на одного жителя</a:t>
            </a:r>
          </a:p>
          <a:p>
            <a:pPr marL="177800"/>
            <a:endParaRPr lang="uk-UA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кутна виноска 15"/>
          <p:cNvSpPr/>
          <p:nvPr/>
        </p:nvSpPr>
        <p:spPr>
          <a:xfrm>
            <a:off x="3204004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77800" algn="ctr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України «Про добровільне об'єднання територіальних громад»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лютого 2015 року)</a:t>
            </a:r>
          </a:p>
          <a:p>
            <a:pPr marL="177800"/>
            <a:endParaRPr lang="uk-UA" sz="8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гульовано порядок добровільного об’єднання територіальних громад сіл, селищ, міст; 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оваджено інститут  старост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</a:t>
            </a:r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їни «Про співробітництво територіальних громад»</a:t>
            </a:r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7 червня 2014 року) </a:t>
            </a: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начено організаційно-правові засади співробітництва територіальних громад</a:t>
            </a:r>
            <a:endParaRPr lang="uk-UA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uk-UA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Прямокутна виноска 16"/>
          <p:cNvSpPr/>
          <p:nvPr/>
        </p:nvSpPr>
        <p:spPr>
          <a:xfrm>
            <a:off x="6156176" y="3356992"/>
            <a:ext cx="2808000" cy="2952328"/>
          </a:xfrm>
          <a:prstGeom prst="wedgeRectCallou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міни до законодавства України щодо децентралізації повноважень у сферах </a:t>
            </a:r>
            <a:r>
              <a:rPr lang="uk-UA" sz="11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 2015 – 2016 роках)</a:t>
            </a:r>
            <a:r>
              <a:rPr lang="uk-UA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77800"/>
            <a:endParaRPr lang="uk-UA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 державної реєстрації речових прав на нерухоме майно та їх обтяжень;</a:t>
            </a:r>
          </a:p>
          <a:p>
            <a:pPr marL="177800">
              <a:buFont typeface="Arial" pitchFamily="34" charset="0"/>
              <a:buChar char="•"/>
            </a:pPr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 державної реєстрації юридичних осіб, фізичних осіб-підприємців та громадських формувань;</a:t>
            </a:r>
          </a:p>
          <a:p>
            <a:pPr marL="177800">
              <a:buFont typeface="Arial" pitchFamily="34" charset="0"/>
              <a:buChar char="•"/>
            </a:pPr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ітектурно-будівельного контролю;</a:t>
            </a:r>
          </a:p>
          <a:p>
            <a:pPr marL="177800"/>
            <a:endParaRPr lang="uk-UA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uk-UA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стобудівної діяльності та просторового розвитку  територій</a:t>
            </a:r>
            <a:endParaRPr lang="uk-UA" sz="1200" dirty="0">
              <a:solidFill>
                <a:schemeClr val="tx1"/>
              </a:solidFill>
            </a:endParaRPr>
          </a:p>
        </p:txBody>
      </p:sp>
      <p:sp>
        <p:nvSpPr>
          <p:cNvPr id="14" name="Стрілка вниз 13"/>
          <p:cNvSpPr/>
          <p:nvPr/>
        </p:nvSpPr>
        <p:spPr>
          <a:xfrm>
            <a:off x="971600" y="1268760"/>
            <a:ext cx="468000" cy="864000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8" name="Стрілка вниз 17"/>
          <p:cNvSpPr/>
          <p:nvPr/>
        </p:nvSpPr>
        <p:spPr>
          <a:xfrm>
            <a:off x="7549828" y="1268760"/>
            <a:ext cx="468000" cy="864000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9" name="Стрілка вниз 18"/>
          <p:cNvSpPr/>
          <p:nvPr/>
        </p:nvSpPr>
        <p:spPr>
          <a:xfrm>
            <a:off x="4320024" y="1268760"/>
            <a:ext cx="468000" cy="288032"/>
          </a:xfrm>
          <a:prstGeom prst="downArrow">
            <a:avLst>
              <a:gd name="adj1" fmla="val 22863"/>
              <a:gd name="adj2" fmla="val 4728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896444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899592" y="45611"/>
            <a:ext cx="8047346" cy="526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Удосконалюється механізм формування та діяльності </a:t>
            </a:r>
          </a:p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спроможних тергромад</a:t>
            </a:r>
          </a:p>
        </p:txBody>
      </p:sp>
      <p:sp>
        <p:nvSpPr>
          <p:cNvPr id="19" name="Нашивка 18"/>
          <p:cNvSpPr/>
          <p:nvPr/>
        </p:nvSpPr>
        <p:spPr bwMode="auto">
          <a:xfrm>
            <a:off x="5172502" y="1412776"/>
            <a:ext cx="3971498" cy="748571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Врегулює порядок добровільного приєднання до вже утворених об’єднаних територіальних громад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275" b="1" dirty="0">
              <a:solidFill>
                <a:prstClr val="white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2" name="П'ятикутник 41"/>
          <p:cNvSpPr/>
          <p:nvPr/>
        </p:nvSpPr>
        <p:spPr bwMode="auto">
          <a:xfrm>
            <a:off x="118445" y="5811215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</a:rPr>
              <a:t>Потребує прийняття проекту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 Закону про внесення змін до деяких законів України щодо функціонування районних </a:t>
            </a:r>
            <a:r>
              <a:rPr lang="ru-RU" sz="1200" b="1" dirty="0">
                <a:solidFill>
                  <a:prstClr val="white"/>
                </a:solidFill>
              </a:rPr>
              <a:t>рад»</a:t>
            </a:r>
          </a:p>
          <a:p>
            <a:pPr defTabSz="685800"/>
            <a:r>
              <a:rPr lang="ru-RU" sz="1200" b="1" dirty="0">
                <a:solidFill>
                  <a:prstClr val="white"/>
                </a:solidFill>
              </a:rPr>
              <a:t> (реєстр. </a:t>
            </a:r>
            <a:r>
              <a:rPr lang="ru-RU" sz="1400" b="1" dirty="0">
                <a:solidFill>
                  <a:srgbClr val="FFC000"/>
                </a:solidFill>
              </a:rPr>
              <a:t>№ 4165</a:t>
            </a:r>
            <a:r>
              <a:rPr lang="ru-RU" sz="1200" b="1" dirty="0">
                <a:solidFill>
                  <a:prstClr val="white"/>
                </a:solidFill>
              </a:rPr>
              <a:t>)</a:t>
            </a:r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П'ятикутник 43"/>
          <p:cNvSpPr/>
          <p:nvPr/>
        </p:nvSpPr>
        <p:spPr bwMode="auto">
          <a:xfrm>
            <a:off x="75690" y="3717032"/>
            <a:ext cx="5346548" cy="908970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  <a:latin typeface="Arial"/>
              </a:rPr>
              <a:t>Прийнято Закону України «Про внесення змін до деяких законодавчих актів України щодо особливостей добровільного об’єднання територіальних громад, розташованих на територіях суміжних районів»</a:t>
            </a:r>
          </a:p>
          <a:p>
            <a:pPr defTabSz="685800"/>
            <a:endParaRPr lang="ru-RU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7" name="Нашивка 46"/>
          <p:cNvSpPr/>
          <p:nvPr/>
        </p:nvSpPr>
        <p:spPr bwMode="auto">
          <a:xfrm>
            <a:off x="5076056" y="3717032"/>
            <a:ext cx="4092889" cy="908970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Забезпечить процес призначення перших місцевих виборів у тергромадах, утворених в результаті об`єднання тергромад різних районів</a:t>
            </a:r>
          </a:p>
        </p:txBody>
      </p:sp>
      <p:sp>
        <p:nvSpPr>
          <p:cNvPr id="18" name="П'ятикутник 17"/>
          <p:cNvSpPr/>
          <p:nvPr/>
        </p:nvSpPr>
        <p:spPr bwMode="auto">
          <a:xfrm>
            <a:off x="75690" y="909259"/>
            <a:ext cx="5356094" cy="780038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  <a:latin typeface="Arial"/>
              </a:rPr>
              <a:t>Прийнято Закон України 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«Про внесення змін до деяких законодавчих актів України (щодо добровільного приєднання територіальних громад)» 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sp>
        <p:nvSpPr>
          <p:cNvPr id="9" name="П'ятикутник 41"/>
          <p:cNvSpPr/>
          <p:nvPr/>
        </p:nvSpPr>
        <p:spPr bwMode="auto">
          <a:xfrm>
            <a:off x="73729" y="2780928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</a:rPr>
              <a:t>Прийнято Закон України «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Про внесення змін до деяких законодавчих актів України (щодо статусу старости села, селища)</a:t>
            </a:r>
            <a:r>
              <a:rPr lang="uk-UA" sz="1200" b="1" dirty="0">
                <a:solidFill>
                  <a:prstClr val="white"/>
                </a:solidFill>
              </a:rPr>
              <a:t>»</a:t>
            </a:r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286000" y="269033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" indent="449580" algn="just">
              <a:spcAft>
                <a:spcPts val="0"/>
              </a:spcAft>
            </a:pPr>
            <a:r>
              <a:rPr lang="uk-UA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uk-UA" sz="1600" dirty="0">
              <a:solidFill>
                <a:srgbClr val="000000"/>
              </a:solidFill>
              <a:effectLst/>
              <a:latin typeface="Arial Unicode MS" panose="020B0604020202020204" pitchFamily="34" charset="-128"/>
              <a:ea typeface="Arial Unicode MS" panose="020B0604020202020204" pitchFamily="34" charset="-128"/>
            </a:endParaRPr>
          </a:p>
        </p:txBody>
      </p:sp>
      <p:sp>
        <p:nvSpPr>
          <p:cNvPr id="11" name="Нашивка 18"/>
          <p:cNvSpPr/>
          <p:nvPr/>
        </p:nvSpPr>
        <p:spPr bwMode="auto">
          <a:xfrm>
            <a:off x="5172502" y="2780928"/>
            <a:ext cx="3996443" cy="807949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Чітко визначає статус старости шляхом визначення просторових меж його діяльності, кола повноважень, підстав та ін.</a:t>
            </a:r>
          </a:p>
        </p:txBody>
      </p:sp>
      <p:sp>
        <p:nvSpPr>
          <p:cNvPr id="12" name="П'ятикутник 11"/>
          <p:cNvSpPr/>
          <p:nvPr/>
        </p:nvSpPr>
        <p:spPr bwMode="auto">
          <a:xfrm>
            <a:off x="107504" y="1844824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200" b="1" dirty="0">
                <a:solidFill>
                  <a:prstClr val="white"/>
                </a:solidFill>
                <a:latin typeface="Arial"/>
              </a:rPr>
              <a:t>Потребує прийняття проекту Закону України «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Про внесення змін до Бюджетного кодексу України (щодо добровільного приєднання територіальних громад)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» (</a:t>
            </a:r>
            <a:r>
              <a:rPr lang="ru-RU" sz="1200" b="1" dirty="0">
                <a:solidFill>
                  <a:prstClr val="white"/>
                </a:solidFill>
                <a:latin typeface="Arial"/>
              </a:rPr>
              <a:t>реєстр. </a:t>
            </a:r>
            <a:r>
              <a:rPr lang="uk-UA" sz="1500" b="1" dirty="0">
                <a:solidFill>
                  <a:srgbClr val="FFC000"/>
                </a:solidFill>
                <a:latin typeface="Arial"/>
              </a:rPr>
              <a:t>№ 4773</a:t>
            </a:r>
            <a:r>
              <a:rPr lang="uk-UA" sz="1200" b="1" dirty="0">
                <a:solidFill>
                  <a:prstClr val="white"/>
                </a:solidFill>
                <a:latin typeface="Arial"/>
              </a:rPr>
              <a:t>)</a:t>
            </a:r>
          </a:p>
          <a:p>
            <a:pPr defTabSz="685800"/>
            <a:r>
              <a:rPr lang="uk-UA" sz="750" b="1" dirty="0">
                <a:solidFill>
                  <a:prstClr val="white"/>
                </a:solidFill>
                <a:latin typeface="Arial"/>
              </a:rPr>
              <a:t>(в першому читанні)</a:t>
            </a:r>
          </a:p>
          <a:p>
            <a:pPr defTabSz="685800"/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Нашивка 12"/>
          <p:cNvSpPr/>
          <p:nvPr/>
        </p:nvSpPr>
        <p:spPr bwMode="auto">
          <a:xfrm>
            <a:off x="5184069" y="5811214"/>
            <a:ext cx="3996443" cy="786137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Дозволить унормувати </a:t>
            </a: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питання щодо представницького органу територіальних громад району у разі їх об’єднання</a:t>
            </a:r>
          </a:p>
        </p:txBody>
      </p:sp>
      <p:sp>
        <p:nvSpPr>
          <p:cNvPr id="14" name="П'ятикутник 41"/>
          <p:cNvSpPr/>
          <p:nvPr/>
        </p:nvSpPr>
        <p:spPr bwMode="auto">
          <a:xfrm>
            <a:off x="107504" y="4797152"/>
            <a:ext cx="5380178" cy="786137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100" b="1" dirty="0">
                <a:solidFill>
                  <a:prstClr val="white"/>
                </a:solidFill>
              </a:rPr>
              <a:t>Потребує прийняття проект</a:t>
            </a:r>
            <a:r>
              <a:rPr lang="ru-RU" sz="1100" b="1" dirty="0">
                <a:solidFill>
                  <a:prstClr val="white"/>
                </a:solidFill>
                <a:latin typeface="Arial"/>
              </a:rPr>
              <a:t> Закону </a:t>
            </a:r>
            <a:r>
              <a:rPr lang="uk-UA" sz="1100" b="1" dirty="0">
                <a:solidFill>
                  <a:prstClr val="white"/>
                </a:solidFill>
                <a:latin typeface="Arial"/>
              </a:rPr>
              <a:t>«П</a:t>
            </a:r>
            <a:r>
              <a:rPr lang="uk-UA" sz="1100" b="1" dirty="0">
                <a:solidFill>
                  <a:prstClr val="white"/>
                </a:solidFill>
              </a:rPr>
              <a:t>ро внесення змін до Закону України "Про добровільне об'єднання територіальних громад" </a:t>
            </a:r>
            <a:r>
              <a:rPr lang="uk-UA" sz="1050" b="1" dirty="0">
                <a:solidFill>
                  <a:prstClr val="white"/>
                </a:solidFill>
              </a:rPr>
              <a:t>щодо добровільного приєднання територіальних громад сіл, селищ до територіальних громад міст обласного значення</a:t>
            </a:r>
            <a:r>
              <a:rPr lang="ru-RU" sz="1100" b="1" dirty="0">
                <a:solidFill>
                  <a:prstClr val="white"/>
                </a:solidFill>
              </a:rPr>
              <a:t>» (реєстр. </a:t>
            </a:r>
            <a:r>
              <a:rPr lang="ru-RU" sz="1400" b="1" dirty="0">
                <a:solidFill>
                  <a:srgbClr val="FFC000"/>
                </a:solidFill>
              </a:rPr>
              <a:t>№ 6466</a:t>
            </a:r>
            <a:r>
              <a:rPr lang="ru-RU" sz="1100" b="1" dirty="0">
                <a:solidFill>
                  <a:prstClr val="white"/>
                </a:solidFill>
              </a:rPr>
              <a:t>)</a:t>
            </a:r>
            <a:endParaRPr lang="uk-UA" sz="11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Нашивка 12"/>
          <p:cNvSpPr/>
          <p:nvPr/>
        </p:nvSpPr>
        <p:spPr bwMode="auto">
          <a:xfrm>
            <a:off x="5197447" y="4797152"/>
            <a:ext cx="3947060" cy="786137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Дозволить </a:t>
            </a: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значно активізувати процес добровільного приєднання до територіальних громад міст обласного значення інших територіальних </a:t>
            </a:r>
            <a:r>
              <a:rPr lang="ru-RU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громад</a:t>
            </a:r>
            <a:endParaRPr lang="uk-UA" sz="1200" b="1" dirty="0">
              <a:solidFill>
                <a:prstClr val="white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9059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899592" y="45611"/>
            <a:ext cx="8047346" cy="526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Удосконалюється механізм формування та діяльності </a:t>
            </a:r>
          </a:p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спроможних тергромад</a:t>
            </a:r>
          </a:p>
        </p:txBody>
      </p:sp>
      <p:sp>
        <p:nvSpPr>
          <p:cNvPr id="42" name="П'ятикутник 41"/>
          <p:cNvSpPr/>
          <p:nvPr/>
        </p:nvSpPr>
        <p:spPr bwMode="auto">
          <a:xfrm>
            <a:off x="73728" y="5589239"/>
            <a:ext cx="5424895" cy="1054874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ru-RU" sz="1100" b="1" dirty="0">
                <a:solidFill>
                  <a:prstClr val="white"/>
                </a:solidFill>
              </a:rPr>
              <a:t>Проект постанови </a:t>
            </a:r>
            <a:r>
              <a:rPr lang="uk-UA" sz="1100" b="1" dirty="0">
                <a:solidFill>
                  <a:prstClr val="white"/>
                </a:solidFill>
              </a:rPr>
              <a:t>Кабінету Міністрів України «</a:t>
            </a:r>
            <a:r>
              <a:rPr lang="ru-RU" sz="1100" b="1" dirty="0">
                <a:solidFill>
                  <a:prstClr val="white"/>
                </a:solidFill>
              </a:rPr>
              <a:t>Про внесення </a:t>
            </a:r>
            <a:r>
              <a:rPr lang="uk-UA" sz="1100" b="1" dirty="0">
                <a:solidFill>
                  <a:prstClr val="white"/>
                </a:solidFill>
              </a:rPr>
              <a:t>змін до постанови Кабінету Міністрів України від 16.03.2016 № 200 «Про деякі питання надання субвенції з державного бюджету місцевим бюджетам на формування інфраструктури об’єднаних територіальних </a:t>
            </a:r>
            <a:r>
              <a:rPr lang="ru-RU" sz="1100" b="1" dirty="0">
                <a:solidFill>
                  <a:prstClr val="white"/>
                </a:solidFill>
              </a:rPr>
              <a:t>громад»</a:t>
            </a:r>
          </a:p>
          <a:p>
            <a:pPr defTabSz="685800"/>
            <a:r>
              <a:rPr lang="ru-RU" sz="1100" b="1" dirty="0">
                <a:solidFill>
                  <a:prstClr val="white"/>
                </a:solidFill>
              </a:rPr>
              <a:t> </a:t>
            </a:r>
          </a:p>
          <a:p>
            <a:pPr defTabSz="685800"/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П'ятикутник 43"/>
          <p:cNvSpPr/>
          <p:nvPr/>
        </p:nvSpPr>
        <p:spPr bwMode="auto">
          <a:xfrm>
            <a:off x="75690" y="4437112"/>
            <a:ext cx="5346548" cy="1008112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100" b="1" dirty="0">
                <a:solidFill>
                  <a:prstClr val="white"/>
                </a:solidFill>
              </a:rPr>
              <a:t>Проект розпорядження Кабінету Міністрів України «Про затвердження переліку спроможних об’єднаних територіальних громад, у яких відбулися перші вибори депутатів сільської, селищної, міської ради та відповідного сільського, селищного, міського голови у 2016 році»</a:t>
            </a:r>
          </a:p>
          <a:p>
            <a:pPr defTabSz="685800"/>
            <a:endParaRPr lang="ru-RU" sz="11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7" name="Нашивка 46"/>
          <p:cNvSpPr/>
          <p:nvPr/>
        </p:nvSpPr>
        <p:spPr bwMode="auto">
          <a:xfrm>
            <a:off x="5004048" y="4437112"/>
            <a:ext cx="4164897" cy="1008112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Дозволить затвердити перелік спроможних об’єднаних територіальних громад, у яких відбулися перші вибори депутатів сільської, селищної, міської ради та відповідного сільського, селищного, міського голови у 2016 році</a:t>
            </a:r>
          </a:p>
        </p:txBody>
      </p:sp>
      <p:sp>
        <p:nvSpPr>
          <p:cNvPr id="9" name="П'ятикутник 41"/>
          <p:cNvSpPr/>
          <p:nvPr/>
        </p:nvSpPr>
        <p:spPr bwMode="auto">
          <a:xfrm>
            <a:off x="73728" y="2996952"/>
            <a:ext cx="5424895" cy="1152128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uk-UA" sz="1100" b="1" dirty="0">
                <a:solidFill>
                  <a:prstClr val="white"/>
                </a:solidFill>
              </a:rPr>
              <a:t>Проект Закону України «Про внесення змін до деяких законодавчих актів України (щодо регулювання статутами територіальних громад питань визначення правового статусу, порядку організації та діяльності органів самоорганізації населення за місцем проживання; порядку проведення загальних зборів громадян за місцем проживання тощо)»</a:t>
            </a:r>
            <a:endParaRPr lang="uk-UA" sz="11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286000" y="269033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" indent="449580" algn="just">
              <a:spcAft>
                <a:spcPts val="0"/>
              </a:spcAft>
            </a:pPr>
            <a:r>
              <a:rPr lang="uk-UA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uk-UA" sz="1600" dirty="0">
              <a:solidFill>
                <a:srgbClr val="000000"/>
              </a:solidFill>
              <a:effectLst/>
              <a:latin typeface="Arial Unicode MS" panose="020B0604020202020204" pitchFamily="34" charset="-128"/>
              <a:ea typeface="Arial Unicode MS" panose="020B0604020202020204" pitchFamily="34" charset="-128"/>
            </a:endParaRPr>
          </a:p>
        </p:txBody>
      </p:sp>
      <p:sp>
        <p:nvSpPr>
          <p:cNvPr id="11" name="Нашивка 18"/>
          <p:cNvSpPr/>
          <p:nvPr/>
        </p:nvSpPr>
        <p:spPr bwMode="auto">
          <a:xfrm>
            <a:off x="5004048" y="2996952"/>
            <a:ext cx="4164897" cy="1152128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just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Сприятиме зміцненню правової основи місцевого самоврядування, усуненню прогалин щодо законодавчого визначення предмету статуту територіальної громади</a:t>
            </a:r>
          </a:p>
        </p:txBody>
      </p:sp>
      <p:sp>
        <p:nvSpPr>
          <p:cNvPr id="12" name="П'ятикутник 11"/>
          <p:cNvSpPr/>
          <p:nvPr/>
        </p:nvSpPr>
        <p:spPr bwMode="auto">
          <a:xfrm>
            <a:off x="107504" y="1943543"/>
            <a:ext cx="5184577" cy="909393"/>
          </a:xfrm>
          <a:prstGeom prst="homePlat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r>
              <a:rPr lang="ru-RU" sz="1200" b="1" dirty="0">
                <a:solidFill>
                  <a:prstClr val="white"/>
                </a:solidFill>
              </a:rPr>
              <a:t>Проект Закону України «Про засади </a:t>
            </a:r>
            <a:r>
              <a:rPr lang="uk-UA" sz="1200" b="1" dirty="0">
                <a:solidFill>
                  <a:prstClr val="white"/>
                </a:solidFill>
              </a:rPr>
              <a:t>адміністративно-територіального устрою України» </a:t>
            </a:r>
            <a:endParaRPr lang="uk-UA" sz="12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Нашивка 12"/>
          <p:cNvSpPr/>
          <p:nvPr/>
        </p:nvSpPr>
        <p:spPr bwMode="auto">
          <a:xfrm>
            <a:off x="5136714" y="5656423"/>
            <a:ext cx="3996443" cy="920506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prstClr val="white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Забезпечить розподіл і спрямування субвенції з державного бюджету місцевим бюджетам на формування інфраструктури об’єднаних територіальних громад</a:t>
            </a:r>
          </a:p>
        </p:txBody>
      </p:sp>
      <p:sp>
        <p:nvSpPr>
          <p:cNvPr id="2" name="Прямокутник 1"/>
          <p:cNvSpPr/>
          <p:nvPr/>
        </p:nvSpPr>
        <p:spPr bwMode="auto">
          <a:xfrm>
            <a:off x="118445" y="997108"/>
            <a:ext cx="8918051" cy="6316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sz="16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Мінрегіоном розроблено та подано до Кабінету Міністрів України такі 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sz="1600" b="1" i="0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проекти нормативно правових актів:</a:t>
            </a:r>
          </a:p>
        </p:txBody>
      </p:sp>
      <p:sp>
        <p:nvSpPr>
          <p:cNvPr id="15" name="Нашивка 18"/>
          <p:cNvSpPr/>
          <p:nvPr/>
        </p:nvSpPr>
        <p:spPr bwMode="auto">
          <a:xfrm>
            <a:off x="4932040" y="1916832"/>
            <a:ext cx="4139953" cy="981400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just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Дозволить </a:t>
            </a:r>
            <a:r>
              <a:rPr lang="uk-UA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врегулювати питання щодо порядку встановлення та зміни меж адміністративно-територіальних одиниць, </a:t>
            </a:r>
            <a:r>
              <a:rPr lang="ru-RU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порядку </a:t>
            </a:r>
            <a:r>
              <a:rPr lang="uk-UA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утворення, ліквідації, встановлення і зміни меж адміністративно-територіальних одиниць,</a:t>
            </a:r>
            <a:r>
              <a:rPr lang="ru-RU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uk-UA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віднесення їх до певних </a:t>
            </a:r>
            <a:r>
              <a:rPr lang="ru-RU" sz="1000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rPr>
              <a:t>категорій</a:t>
            </a:r>
            <a:endParaRPr lang="uk-UA" sz="1000" b="1" dirty="0">
              <a:solidFill>
                <a:prstClr val="white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48137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64" name="Group 165"/>
          <p:cNvGrpSpPr>
            <a:grpSpLocks/>
          </p:cNvGrpSpPr>
          <p:nvPr/>
        </p:nvGrpSpPr>
        <p:grpSpPr bwMode="auto">
          <a:xfrm>
            <a:off x="802304" y="768677"/>
            <a:ext cx="8091606" cy="5471547"/>
            <a:chOff x="1714663" y="980728"/>
            <a:chExt cx="7304904" cy="4752589"/>
          </a:xfrm>
        </p:grpSpPr>
        <p:grpSp>
          <p:nvGrpSpPr>
            <p:cNvPr id="41086" name="Group 99"/>
            <p:cNvGrpSpPr>
              <a:grpSpLocks/>
            </p:cNvGrpSpPr>
            <p:nvPr/>
          </p:nvGrpSpPr>
          <p:grpSpPr bwMode="auto">
            <a:xfrm>
              <a:off x="1714663" y="980728"/>
              <a:ext cx="7304904" cy="4752589"/>
              <a:chOff x="179512" y="1788775"/>
              <a:chExt cx="6262359" cy="4016489"/>
            </a:xfrm>
          </p:grpSpPr>
          <p:sp>
            <p:nvSpPr>
              <p:cNvPr id="41089" name="AutoShape 63"/>
              <p:cNvSpPr>
                <a:spLocks noChangeAspect="1" noChangeArrowheads="1"/>
              </p:cNvSpPr>
              <p:nvPr/>
            </p:nvSpPr>
            <p:spPr bwMode="auto">
              <a:xfrm>
                <a:off x="179512" y="1788775"/>
                <a:ext cx="6102876" cy="36558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825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102" name="Freeform 62"/>
              <p:cNvSpPr>
                <a:spLocks/>
              </p:cNvSpPr>
              <p:nvPr/>
            </p:nvSpPr>
            <p:spPr bwMode="auto">
              <a:xfrm>
                <a:off x="4566701" y="4994990"/>
                <a:ext cx="84369" cy="73783"/>
              </a:xfrm>
              <a:custGeom>
                <a:avLst/>
                <a:gdLst/>
                <a:ahLst/>
                <a:cxnLst>
                  <a:cxn ang="0">
                    <a:pos x="7" y="28"/>
                  </a:cxn>
                  <a:cxn ang="0">
                    <a:pos x="7" y="15"/>
                  </a:cxn>
                  <a:cxn ang="0">
                    <a:pos x="20" y="4"/>
                  </a:cxn>
                  <a:cxn ang="0">
                    <a:pos x="25" y="18"/>
                  </a:cxn>
                  <a:cxn ang="0">
                    <a:pos x="26" y="29"/>
                  </a:cxn>
                  <a:cxn ang="0">
                    <a:pos x="7" y="28"/>
                  </a:cxn>
                  <a:cxn ang="0">
                    <a:pos x="7" y="28"/>
                  </a:cxn>
                </a:cxnLst>
                <a:rect l="0" t="0" r="r" b="b"/>
                <a:pathLst>
                  <a:path w="30" h="29">
                    <a:moveTo>
                      <a:pt x="7" y="28"/>
                    </a:moveTo>
                    <a:cubicBezTo>
                      <a:pt x="0" y="20"/>
                      <a:pt x="7" y="15"/>
                      <a:pt x="7" y="15"/>
                    </a:cubicBezTo>
                    <a:cubicBezTo>
                      <a:pt x="7" y="0"/>
                      <a:pt x="20" y="4"/>
                      <a:pt x="20" y="4"/>
                    </a:cubicBezTo>
                    <a:cubicBezTo>
                      <a:pt x="30" y="4"/>
                      <a:pt x="25" y="18"/>
                      <a:pt x="25" y="18"/>
                    </a:cubicBezTo>
                    <a:cubicBezTo>
                      <a:pt x="26" y="22"/>
                      <a:pt x="26" y="26"/>
                      <a:pt x="26" y="29"/>
                    </a:cubicBezTo>
                    <a:cubicBezTo>
                      <a:pt x="26" y="29"/>
                      <a:pt x="13" y="18"/>
                      <a:pt x="7" y="28"/>
                    </a:cubicBezTo>
                    <a:cubicBezTo>
                      <a:pt x="7" y="28"/>
                      <a:pt x="7" y="28"/>
                      <a:pt x="7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3" name="Freeform 61"/>
              <p:cNvSpPr>
                <a:spLocks/>
              </p:cNvSpPr>
              <p:nvPr/>
            </p:nvSpPr>
            <p:spPr bwMode="auto">
              <a:xfrm>
                <a:off x="3542026" y="4821935"/>
                <a:ext cx="107502" cy="46953"/>
              </a:xfrm>
              <a:custGeom>
                <a:avLst/>
                <a:gdLst/>
                <a:ahLst/>
                <a:cxnLst>
                  <a:cxn ang="0">
                    <a:pos x="37" y="3"/>
                  </a:cxn>
                  <a:cxn ang="0">
                    <a:pos x="33" y="15"/>
                  </a:cxn>
                  <a:cxn ang="0">
                    <a:pos x="17" y="18"/>
                  </a:cxn>
                  <a:cxn ang="0">
                    <a:pos x="0" y="0"/>
                  </a:cxn>
                  <a:cxn ang="0">
                    <a:pos x="22" y="0"/>
                  </a:cxn>
                  <a:cxn ang="0">
                    <a:pos x="37" y="3"/>
                  </a:cxn>
                  <a:cxn ang="0">
                    <a:pos x="37" y="3"/>
                  </a:cxn>
                </a:cxnLst>
                <a:rect l="0" t="0" r="r" b="b"/>
                <a:pathLst>
                  <a:path w="38" h="18">
                    <a:moveTo>
                      <a:pt x="37" y="3"/>
                    </a:moveTo>
                    <a:cubicBezTo>
                      <a:pt x="38" y="8"/>
                      <a:pt x="29" y="11"/>
                      <a:pt x="33" y="15"/>
                    </a:cubicBezTo>
                    <a:cubicBezTo>
                      <a:pt x="24" y="15"/>
                      <a:pt x="17" y="18"/>
                      <a:pt x="17" y="18"/>
                    </a:cubicBezTo>
                    <a:cubicBezTo>
                      <a:pt x="7" y="14"/>
                      <a:pt x="0" y="0"/>
                      <a:pt x="0" y="0"/>
                    </a:cubicBezTo>
                    <a:cubicBezTo>
                      <a:pt x="16" y="5"/>
                      <a:pt x="22" y="0"/>
                      <a:pt x="22" y="0"/>
                    </a:cubicBezTo>
                    <a:cubicBezTo>
                      <a:pt x="29" y="2"/>
                      <a:pt x="33" y="3"/>
                      <a:pt x="37" y="3"/>
                    </a:cubicBezTo>
                    <a:cubicBezTo>
                      <a:pt x="37" y="3"/>
                      <a:pt x="37" y="3"/>
                      <a:pt x="37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4" name="Freeform 60"/>
              <p:cNvSpPr>
                <a:spLocks/>
              </p:cNvSpPr>
              <p:nvPr/>
            </p:nvSpPr>
            <p:spPr bwMode="auto">
              <a:xfrm>
                <a:off x="4774903" y="4962794"/>
                <a:ext cx="72121" cy="5231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1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21">
                    <a:moveTo>
                      <a:pt x="25" y="0"/>
                    </a:moveTo>
                    <a:cubicBezTo>
                      <a:pt x="25" y="10"/>
                      <a:pt x="0" y="21"/>
                      <a:pt x="0" y="21"/>
                    </a:cubicBezTo>
                    <a:cubicBezTo>
                      <a:pt x="1" y="6"/>
                      <a:pt x="16" y="8"/>
                      <a:pt x="25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105" name="Freeform 59"/>
              <p:cNvSpPr>
                <a:spLocks/>
              </p:cNvSpPr>
              <p:nvPr/>
            </p:nvSpPr>
            <p:spPr bwMode="auto">
              <a:xfrm>
                <a:off x="3938016" y="5037919"/>
                <a:ext cx="149687" cy="4292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5" y="13"/>
                  </a:cxn>
                  <a:cxn ang="0">
                    <a:pos x="50" y="8"/>
                  </a:cxn>
                  <a:cxn ang="0">
                    <a:pos x="35" y="3"/>
                  </a:cxn>
                  <a:cxn ang="0">
                    <a:pos x="0" y="2"/>
                  </a:cxn>
                  <a:cxn ang="0">
                    <a:pos x="0" y="2"/>
                  </a:cxn>
                </a:cxnLst>
                <a:rect l="0" t="0" r="r" b="b"/>
                <a:pathLst>
                  <a:path w="53" h="17">
                    <a:moveTo>
                      <a:pt x="0" y="2"/>
                    </a:moveTo>
                    <a:cubicBezTo>
                      <a:pt x="24" y="8"/>
                      <a:pt x="35" y="13"/>
                      <a:pt x="35" y="13"/>
                    </a:cubicBezTo>
                    <a:cubicBezTo>
                      <a:pt x="53" y="17"/>
                      <a:pt x="50" y="8"/>
                      <a:pt x="50" y="8"/>
                    </a:cubicBezTo>
                    <a:cubicBezTo>
                      <a:pt x="49" y="2"/>
                      <a:pt x="35" y="3"/>
                      <a:pt x="35" y="3"/>
                    </a:cubicBezTo>
                    <a:cubicBezTo>
                      <a:pt x="28" y="0"/>
                      <a:pt x="26" y="6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094" name="Freeform 105"/>
              <p:cNvSpPr>
                <a:spLocks/>
              </p:cNvSpPr>
              <p:nvPr/>
            </p:nvSpPr>
            <p:spPr bwMode="auto">
              <a:xfrm>
                <a:off x="822759" y="3385707"/>
                <a:ext cx="704382" cy="827340"/>
              </a:xfrm>
              <a:custGeom>
                <a:avLst/>
                <a:gdLst>
                  <a:gd name="T0" fmla="*/ 0 w 249"/>
                  <a:gd name="T1" fmla="*/ 2147483647 h 331"/>
                  <a:gd name="T2" fmla="*/ 2147483647 w 249"/>
                  <a:gd name="T3" fmla="*/ 2147483647 h 331"/>
                  <a:gd name="T4" fmla="*/ 2147483647 w 249"/>
                  <a:gd name="T5" fmla="*/ 2147483647 h 331"/>
                  <a:gd name="T6" fmla="*/ 2147483647 w 249"/>
                  <a:gd name="T7" fmla="*/ 2147483647 h 331"/>
                  <a:gd name="T8" fmla="*/ 2147483647 w 249"/>
                  <a:gd name="T9" fmla="*/ 2147483647 h 331"/>
                  <a:gd name="T10" fmla="*/ 2147483647 w 249"/>
                  <a:gd name="T11" fmla="*/ 2147483647 h 331"/>
                  <a:gd name="T12" fmla="*/ 2147483647 w 249"/>
                  <a:gd name="T13" fmla="*/ 2147483647 h 331"/>
                  <a:gd name="T14" fmla="*/ 2147483647 w 249"/>
                  <a:gd name="T15" fmla="*/ 2147483647 h 331"/>
                  <a:gd name="T16" fmla="*/ 2147483647 w 249"/>
                  <a:gd name="T17" fmla="*/ 2147483647 h 331"/>
                  <a:gd name="T18" fmla="*/ 2147483647 w 249"/>
                  <a:gd name="T19" fmla="*/ 2147483647 h 331"/>
                  <a:gd name="T20" fmla="*/ 2147483647 w 249"/>
                  <a:gd name="T21" fmla="*/ 2147483647 h 331"/>
                  <a:gd name="T22" fmla="*/ 2147483647 w 249"/>
                  <a:gd name="T23" fmla="*/ 2147483647 h 331"/>
                  <a:gd name="T24" fmla="*/ 2147483647 w 249"/>
                  <a:gd name="T25" fmla="*/ 2147483647 h 331"/>
                  <a:gd name="T26" fmla="*/ 2147483647 w 249"/>
                  <a:gd name="T27" fmla="*/ 2147483647 h 331"/>
                  <a:gd name="T28" fmla="*/ 2147483647 w 249"/>
                  <a:gd name="T29" fmla="*/ 2147483647 h 331"/>
                  <a:gd name="T30" fmla="*/ 2147483647 w 249"/>
                  <a:gd name="T31" fmla="*/ 2147483647 h 331"/>
                  <a:gd name="T32" fmla="*/ 2147483647 w 249"/>
                  <a:gd name="T33" fmla="*/ 2147483647 h 331"/>
                  <a:gd name="T34" fmla="*/ 2147483647 w 249"/>
                  <a:gd name="T35" fmla="*/ 2147483647 h 331"/>
                  <a:gd name="T36" fmla="*/ 2147483647 w 249"/>
                  <a:gd name="T37" fmla="*/ 2147483647 h 331"/>
                  <a:gd name="T38" fmla="*/ 2147483647 w 249"/>
                  <a:gd name="T39" fmla="*/ 2147483647 h 331"/>
                  <a:gd name="T40" fmla="*/ 2147483647 w 249"/>
                  <a:gd name="T41" fmla="*/ 2147483647 h 331"/>
                  <a:gd name="T42" fmla="*/ 2147483647 w 249"/>
                  <a:gd name="T43" fmla="*/ 2147483647 h 331"/>
                  <a:gd name="T44" fmla="*/ 2147483647 w 249"/>
                  <a:gd name="T45" fmla="*/ 2147483647 h 331"/>
                  <a:gd name="T46" fmla="*/ 2147483647 w 249"/>
                  <a:gd name="T47" fmla="*/ 2147483647 h 331"/>
                  <a:gd name="T48" fmla="*/ 2147483647 w 249"/>
                  <a:gd name="T49" fmla="*/ 2147483647 h 331"/>
                  <a:gd name="T50" fmla="*/ 2147483647 w 249"/>
                  <a:gd name="T51" fmla="*/ 2147483647 h 331"/>
                  <a:gd name="T52" fmla="*/ 2147483647 w 249"/>
                  <a:gd name="T53" fmla="*/ 2147483647 h 331"/>
                  <a:gd name="T54" fmla="*/ 2147483647 w 249"/>
                  <a:gd name="T55" fmla="*/ 2147483647 h 331"/>
                  <a:gd name="T56" fmla="*/ 2147483647 w 249"/>
                  <a:gd name="T57" fmla="*/ 2147483647 h 331"/>
                  <a:gd name="T58" fmla="*/ 2147483647 w 249"/>
                  <a:gd name="T59" fmla="*/ 2147483647 h 331"/>
                  <a:gd name="T60" fmla="*/ 2147483647 w 249"/>
                  <a:gd name="T61" fmla="*/ 2147483647 h 331"/>
                  <a:gd name="T62" fmla="*/ 2147483647 w 249"/>
                  <a:gd name="T63" fmla="*/ 2147483647 h 331"/>
                  <a:gd name="T64" fmla="*/ 2147483647 w 249"/>
                  <a:gd name="T65" fmla="*/ 2147483647 h 331"/>
                  <a:gd name="T66" fmla="*/ 2147483647 w 249"/>
                  <a:gd name="T67" fmla="*/ 2147483647 h 331"/>
                  <a:gd name="T68" fmla="*/ 2147483647 w 249"/>
                  <a:gd name="T69" fmla="*/ 2147483647 h 331"/>
                  <a:gd name="T70" fmla="*/ 2147483647 w 249"/>
                  <a:gd name="T71" fmla="*/ 2147483647 h 331"/>
                  <a:gd name="T72" fmla="*/ 2147483647 w 249"/>
                  <a:gd name="T73" fmla="*/ 2147483647 h 331"/>
                  <a:gd name="T74" fmla="*/ 2147483647 w 249"/>
                  <a:gd name="T75" fmla="*/ 2147483647 h 331"/>
                  <a:gd name="T76" fmla="*/ 2147483647 w 249"/>
                  <a:gd name="T77" fmla="*/ 2147483647 h 331"/>
                  <a:gd name="T78" fmla="*/ 2147483647 w 249"/>
                  <a:gd name="T79" fmla="*/ 2147483647 h 331"/>
                  <a:gd name="T80" fmla="*/ 2147483647 w 249"/>
                  <a:gd name="T81" fmla="*/ 2147483647 h 331"/>
                  <a:gd name="T82" fmla="*/ 2147483647 w 249"/>
                  <a:gd name="T83" fmla="*/ 2147483647 h 331"/>
                  <a:gd name="T84" fmla="*/ 2147483647 w 249"/>
                  <a:gd name="T85" fmla="*/ 2147483647 h 331"/>
                  <a:gd name="T86" fmla="*/ 2147483647 w 249"/>
                  <a:gd name="T87" fmla="*/ 2147483647 h 331"/>
                  <a:gd name="T88" fmla="*/ 2147483647 w 249"/>
                  <a:gd name="T89" fmla="*/ 2147483647 h 331"/>
                  <a:gd name="T90" fmla="*/ 2147483647 w 249"/>
                  <a:gd name="T91" fmla="*/ 2147483647 h 331"/>
                  <a:gd name="T92" fmla="*/ 0 w 249"/>
                  <a:gd name="T93" fmla="*/ 2147483647 h 331"/>
                  <a:gd name="T94" fmla="*/ 0 w 249"/>
                  <a:gd name="T95" fmla="*/ 2147483647 h 33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49"/>
                  <a:gd name="T145" fmla="*/ 0 h 331"/>
                  <a:gd name="T146" fmla="*/ 249 w 249"/>
                  <a:gd name="T147" fmla="*/ 331 h 33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49" h="331">
                    <a:moveTo>
                      <a:pt x="0" y="135"/>
                    </a:moveTo>
                    <a:cubicBezTo>
                      <a:pt x="7" y="119"/>
                      <a:pt x="3" y="108"/>
                      <a:pt x="3" y="108"/>
                    </a:cubicBezTo>
                    <a:cubicBezTo>
                      <a:pt x="2" y="93"/>
                      <a:pt x="11" y="90"/>
                      <a:pt x="11" y="90"/>
                    </a:cubicBezTo>
                    <a:cubicBezTo>
                      <a:pt x="20" y="87"/>
                      <a:pt x="22" y="80"/>
                      <a:pt x="22" y="80"/>
                    </a:cubicBezTo>
                    <a:cubicBezTo>
                      <a:pt x="19" y="64"/>
                      <a:pt x="39" y="71"/>
                      <a:pt x="39" y="71"/>
                    </a:cubicBezTo>
                    <a:cubicBezTo>
                      <a:pt x="59" y="75"/>
                      <a:pt x="63" y="69"/>
                      <a:pt x="63" y="69"/>
                    </a:cubicBezTo>
                    <a:cubicBezTo>
                      <a:pt x="72" y="65"/>
                      <a:pt x="93" y="66"/>
                      <a:pt x="93" y="66"/>
                    </a:cubicBezTo>
                    <a:cubicBezTo>
                      <a:pt x="116" y="67"/>
                      <a:pt x="116" y="59"/>
                      <a:pt x="116" y="59"/>
                    </a:cubicBezTo>
                    <a:cubicBezTo>
                      <a:pt x="115" y="55"/>
                      <a:pt x="103" y="56"/>
                      <a:pt x="103" y="56"/>
                    </a:cubicBezTo>
                    <a:cubicBezTo>
                      <a:pt x="100" y="50"/>
                      <a:pt x="102" y="40"/>
                      <a:pt x="102" y="40"/>
                    </a:cubicBezTo>
                    <a:cubicBezTo>
                      <a:pt x="116" y="39"/>
                      <a:pt x="113" y="21"/>
                      <a:pt x="113" y="21"/>
                    </a:cubicBezTo>
                    <a:cubicBezTo>
                      <a:pt x="110" y="4"/>
                      <a:pt x="123" y="7"/>
                      <a:pt x="123" y="7"/>
                    </a:cubicBezTo>
                    <a:cubicBezTo>
                      <a:pt x="129" y="0"/>
                      <a:pt x="140" y="6"/>
                      <a:pt x="140" y="6"/>
                    </a:cubicBezTo>
                    <a:cubicBezTo>
                      <a:pt x="142" y="14"/>
                      <a:pt x="151" y="11"/>
                      <a:pt x="151" y="11"/>
                    </a:cubicBezTo>
                    <a:cubicBezTo>
                      <a:pt x="151" y="11"/>
                      <a:pt x="162" y="31"/>
                      <a:pt x="162" y="53"/>
                    </a:cubicBezTo>
                    <a:cubicBezTo>
                      <a:pt x="162" y="53"/>
                      <a:pt x="168" y="63"/>
                      <a:pt x="163" y="66"/>
                    </a:cubicBezTo>
                    <a:cubicBezTo>
                      <a:pt x="163" y="66"/>
                      <a:pt x="158" y="73"/>
                      <a:pt x="160" y="81"/>
                    </a:cubicBezTo>
                    <a:cubicBezTo>
                      <a:pt x="160" y="81"/>
                      <a:pt x="175" y="80"/>
                      <a:pt x="176" y="87"/>
                    </a:cubicBezTo>
                    <a:cubicBezTo>
                      <a:pt x="176" y="87"/>
                      <a:pt x="179" y="94"/>
                      <a:pt x="165" y="95"/>
                    </a:cubicBezTo>
                    <a:cubicBezTo>
                      <a:pt x="182" y="98"/>
                      <a:pt x="173" y="109"/>
                      <a:pt x="179" y="111"/>
                    </a:cubicBezTo>
                    <a:cubicBezTo>
                      <a:pt x="179" y="111"/>
                      <a:pt x="190" y="102"/>
                      <a:pt x="188" y="117"/>
                    </a:cubicBezTo>
                    <a:cubicBezTo>
                      <a:pt x="188" y="117"/>
                      <a:pt x="186" y="139"/>
                      <a:pt x="196" y="126"/>
                    </a:cubicBezTo>
                    <a:cubicBezTo>
                      <a:pt x="196" y="126"/>
                      <a:pt x="203" y="111"/>
                      <a:pt x="204" y="135"/>
                    </a:cubicBezTo>
                    <a:cubicBezTo>
                      <a:pt x="204" y="135"/>
                      <a:pt x="196" y="154"/>
                      <a:pt x="219" y="135"/>
                    </a:cubicBezTo>
                    <a:cubicBezTo>
                      <a:pt x="219" y="135"/>
                      <a:pt x="230" y="129"/>
                      <a:pt x="233" y="143"/>
                    </a:cubicBezTo>
                    <a:cubicBezTo>
                      <a:pt x="233" y="143"/>
                      <a:pt x="249" y="147"/>
                      <a:pt x="246" y="168"/>
                    </a:cubicBezTo>
                    <a:cubicBezTo>
                      <a:pt x="246" y="168"/>
                      <a:pt x="234" y="172"/>
                      <a:pt x="241" y="189"/>
                    </a:cubicBezTo>
                    <a:cubicBezTo>
                      <a:pt x="241" y="189"/>
                      <a:pt x="245" y="194"/>
                      <a:pt x="241" y="205"/>
                    </a:cubicBezTo>
                    <a:cubicBezTo>
                      <a:pt x="241" y="205"/>
                      <a:pt x="243" y="220"/>
                      <a:pt x="225" y="217"/>
                    </a:cubicBezTo>
                    <a:cubicBezTo>
                      <a:pt x="225" y="217"/>
                      <a:pt x="208" y="213"/>
                      <a:pt x="189" y="240"/>
                    </a:cubicBezTo>
                    <a:cubicBezTo>
                      <a:pt x="189" y="240"/>
                      <a:pt x="186" y="247"/>
                      <a:pt x="182" y="245"/>
                    </a:cubicBezTo>
                    <a:cubicBezTo>
                      <a:pt x="182" y="245"/>
                      <a:pt x="177" y="260"/>
                      <a:pt x="161" y="264"/>
                    </a:cubicBezTo>
                    <a:cubicBezTo>
                      <a:pt x="161" y="264"/>
                      <a:pt x="148" y="282"/>
                      <a:pt x="153" y="302"/>
                    </a:cubicBezTo>
                    <a:cubicBezTo>
                      <a:pt x="153" y="302"/>
                      <a:pt x="162" y="311"/>
                      <a:pt x="148" y="331"/>
                    </a:cubicBezTo>
                    <a:cubicBezTo>
                      <a:pt x="148" y="331"/>
                      <a:pt x="138" y="304"/>
                      <a:pt x="124" y="306"/>
                    </a:cubicBezTo>
                    <a:cubicBezTo>
                      <a:pt x="124" y="306"/>
                      <a:pt x="125" y="291"/>
                      <a:pt x="113" y="285"/>
                    </a:cubicBezTo>
                    <a:cubicBezTo>
                      <a:pt x="125" y="264"/>
                      <a:pt x="111" y="256"/>
                      <a:pt x="111" y="256"/>
                    </a:cubicBezTo>
                    <a:cubicBezTo>
                      <a:pt x="102" y="252"/>
                      <a:pt x="113" y="242"/>
                      <a:pt x="106" y="238"/>
                    </a:cubicBezTo>
                    <a:cubicBezTo>
                      <a:pt x="100" y="219"/>
                      <a:pt x="91" y="217"/>
                      <a:pt x="91" y="217"/>
                    </a:cubicBezTo>
                    <a:cubicBezTo>
                      <a:pt x="84" y="201"/>
                      <a:pt x="78" y="213"/>
                      <a:pt x="78" y="213"/>
                    </a:cubicBezTo>
                    <a:cubicBezTo>
                      <a:pt x="53" y="216"/>
                      <a:pt x="62" y="201"/>
                      <a:pt x="62" y="201"/>
                    </a:cubicBezTo>
                    <a:cubicBezTo>
                      <a:pt x="67" y="172"/>
                      <a:pt x="60" y="180"/>
                      <a:pt x="60" y="180"/>
                    </a:cubicBezTo>
                    <a:cubicBezTo>
                      <a:pt x="49" y="179"/>
                      <a:pt x="45" y="186"/>
                      <a:pt x="45" y="186"/>
                    </a:cubicBezTo>
                    <a:cubicBezTo>
                      <a:pt x="32" y="188"/>
                      <a:pt x="40" y="177"/>
                      <a:pt x="40" y="177"/>
                    </a:cubicBezTo>
                    <a:cubicBezTo>
                      <a:pt x="39" y="170"/>
                      <a:pt x="32" y="169"/>
                      <a:pt x="32" y="169"/>
                    </a:cubicBezTo>
                    <a:cubicBezTo>
                      <a:pt x="23" y="167"/>
                      <a:pt x="29" y="152"/>
                      <a:pt x="12" y="153"/>
                    </a:cubicBezTo>
                    <a:cubicBezTo>
                      <a:pt x="13" y="144"/>
                      <a:pt x="0" y="135"/>
                      <a:pt x="0" y="135"/>
                    </a:cubicBezTo>
                    <a:cubicBezTo>
                      <a:pt x="0" y="135"/>
                      <a:pt x="0" y="135"/>
                      <a:pt x="0" y="1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5" name="Freeform 57"/>
              <p:cNvSpPr>
                <a:spLocks/>
              </p:cNvSpPr>
              <p:nvPr/>
            </p:nvSpPr>
            <p:spPr bwMode="auto">
              <a:xfrm>
                <a:off x="542335" y="2890717"/>
                <a:ext cx="971516" cy="833233"/>
              </a:xfrm>
              <a:custGeom>
                <a:avLst/>
                <a:gdLst>
                  <a:gd name="T0" fmla="*/ 2147483647 w 343"/>
                  <a:gd name="T1" fmla="*/ 2147483647 h 333"/>
                  <a:gd name="T2" fmla="*/ 2147483647 w 343"/>
                  <a:gd name="T3" fmla="*/ 2147483647 h 333"/>
                  <a:gd name="T4" fmla="*/ 2147483647 w 343"/>
                  <a:gd name="T5" fmla="*/ 2147483647 h 333"/>
                  <a:gd name="T6" fmla="*/ 2147483647 w 343"/>
                  <a:gd name="T7" fmla="*/ 2147483647 h 333"/>
                  <a:gd name="T8" fmla="*/ 2147483647 w 343"/>
                  <a:gd name="T9" fmla="*/ 2147483647 h 333"/>
                  <a:gd name="T10" fmla="*/ 2147483647 w 343"/>
                  <a:gd name="T11" fmla="*/ 2147483647 h 333"/>
                  <a:gd name="T12" fmla="*/ 2147483647 w 343"/>
                  <a:gd name="T13" fmla="*/ 2147483647 h 333"/>
                  <a:gd name="T14" fmla="*/ 2147483647 w 343"/>
                  <a:gd name="T15" fmla="*/ 2147483647 h 333"/>
                  <a:gd name="T16" fmla="*/ 2147483647 w 343"/>
                  <a:gd name="T17" fmla="*/ 2147483647 h 333"/>
                  <a:gd name="T18" fmla="*/ 2147483647 w 343"/>
                  <a:gd name="T19" fmla="*/ 2147483647 h 333"/>
                  <a:gd name="T20" fmla="*/ 2147483647 w 343"/>
                  <a:gd name="T21" fmla="*/ 0 h 333"/>
                  <a:gd name="T22" fmla="*/ 2147483647 w 343"/>
                  <a:gd name="T23" fmla="*/ 2147483647 h 333"/>
                  <a:gd name="T24" fmla="*/ 2147483647 w 343"/>
                  <a:gd name="T25" fmla="*/ 2147483647 h 333"/>
                  <a:gd name="T26" fmla="*/ 2147483647 w 343"/>
                  <a:gd name="T27" fmla="*/ 2147483647 h 333"/>
                  <a:gd name="T28" fmla="*/ 2147483647 w 343"/>
                  <a:gd name="T29" fmla="*/ 2147483647 h 333"/>
                  <a:gd name="T30" fmla="*/ 2147483647 w 343"/>
                  <a:gd name="T31" fmla="*/ 2147483647 h 333"/>
                  <a:gd name="T32" fmla="*/ 2147483647 w 343"/>
                  <a:gd name="T33" fmla="*/ 2147483647 h 333"/>
                  <a:gd name="T34" fmla="*/ 2147483647 w 343"/>
                  <a:gd name="T35" fmla="*/ 2147483647 h 333"/>
                  <a:gd name="T36" fmla="*/ 2147483647 w 343"/>
                  <a:gd name="T37" fmla="*/ 2147483647 h 333"/>
                  <a:gd name="T38" fmla="*/ 2147483647 w 343"/>
                  <a:gd name="T39" fmla="*/ 2147483647 h 333"/>
                  <a:gd name="T40" fmla="*/ 2147483647 w 343"/>
                  <a:gd name="T41" fmla="*/ 2147483647 h 333"/>
                  <a:gd name="T42" fmla="*/ 2147483647 w 343"/>
                  <a:gd name="T43" fmla="*/ 2147483647 h 333"/>
                  <a:gd name="T44" fmla="*/ 2147483647 w 343"/>
                  <a:gd name="T45" fmla="*/ 2147483647 h 333"/>
                  <a:gd name="T46" fmla="*/ 2147483647 w 343"/>
                  <a:gd name="T47" fmla="*/ 2147483647 h 333"/>
                  <a:gd name="T48" fmla="*/ 2147483647 w 343"/>
                  <a:gd name="T49" fmla="*/ 2147483647 h 333"/>
                  <a:gd name="T50" fmla="*/ 2147483647 w 343"/>
                  <a:gd name="T51" fmla="*/ 2147483647 h 333"/>
                  <a:gd name="T52" fmla="*/ 2147483647 w 343"/>
                  <a:gd name="T53" fmla="*/ 2147483647 h 333"/>
                  <a:gd name="T54" fmla="*/ 2147483647 w 343"/>
                  <a:gd name="T55" fmla="*/ 2147483647 h 333"/>
                  <a:gd name="T56" fmla="*/ 2147483647 w 343"/>
                  <a:gd name="T57" fmla="*/ 2147483647 h 333"/>
                  <a:gd name="T58" fmla="*/ 2147483647 w 343"/>
                  <a:gd name="T59" fmla="*/ 2147483647 h 333"/>
                  <a:gd name="T60" fmla="*/ 2147483647 w 343"/>
                  <a:gd name="T61" fmla="*/ 2147483647 h 333"/>
                  <a:gd name="T62" fmla="*/ 2147483647 w 343"/>
                  <a:gd name="T63" fmla="*/ 2147483647 h 333"/>
                  <a:gd name="T64" fmla="*/ 2147483647 w 343"/>
                  <a:gd name="T65" fmla="*/ 2147483647 h 333"/>
                  <a:gd name="T66" fmla="*/ 2147483647 w 343"/>
                  <a:gd name="T67" fmla="*/ 2147483647 h 333"/>
                  <a:gd name="T68" fmla="*/ 2147483647 w 343"/>
                  <a:gd name="T69" fmla="*/ 2147483647 h 333"/>
                  <a:gd name="T70" fmla="*/ 2147483647 w 343"/>
                  <a:gd name="T71" fmla="*/ 2147483647 h 333"/>
                  <a:gd name="T72" fmla="*/ 2147483647 w 343"/>
                  <a:gd name="T73" fmla="*/ 2147483647 h 333"/>
                  <a:gd name="T74" fmla="*/ 2147483647 w 343"/>
                  <a:gd name="T75" fmla="*/ 2147483647 h 333"/>
                  <a:gd name="T76" fmla="*/ 2147483647 w 343"/>
                  <a:gd name="T77" fmla="*/ 2147483647 h 333"/>
                  <a:gd name="T78" fmla="*/ 2147483647 w 343"/>
                  <a:gd name="T79" fmla="*/ 2147483647 h 333"/>
                  <a:gd name="T80" fmla="*/ 2147483647 w 343"/>
                  <a:gd name="T81" fmla="*/ 2147483647 h 333"/>
                  <a:gd name="T82" fmla="*/ 2147483647 w 343"/>
                  <a:gd name="T83" fmla="*/ 2147483647 h 333"/>
                  <a:gd name="T84" fmla="*/ 2147483647 w 343"/>
                  <a:gd name="T85" fmla="*/ 2147483647 h 333"/>
                  <a:gd name="T86" fmla="*/ 2147483647 w 343"/>
                  <a:gd name="T87" fmla="*/ 2147483647 h 333"/>
                  <a:gd name="T88" fmla="*/ 2147483647 w 343"/>
                  <a:gd name="T89" fmla="*/ 2147483647 h 333"/>
                  <a:gd name="T90" fmla="*/ 2147483647 w 343"/>
                  <a:gd name="T91" fmla="*/ 2147483647 h 333"/>
                  <a:gd name="T92" fmla="*/ 2147483647 w 343"/>
                  <a:gd name="T93" fmla="*/ 2147483647 h 333"/>
                  <a:gd name="T94" fmla="*/ 2147483647 w 343"/>
                  <a:gd name="T95" fmla="*/ 2147483647 h 333"/>
                  <a:gd name="T96" fmla="*/ 2147483647 w 343"/>
                  <a:gd name="T97" fmla="*/ 2147483647 h 333"/>
                  <a:gd name="T98" fmla="*/ 2147483647 w 343"/>
                  <a:gd name="T99" fmla="*/ 2147483647 h 333"/>
                  <a:gd name="T100" fmla="*/ 2147483647 w 343"/>
                  <a:gd name="T101" fmla="*/ 2147483647 h 333"/>
                  <a:gd name="T102" fmla="*/ 2147483647 w 343"/>
                  <a:gd name="T103" fmla="*/ 2147483647 h 333"/>
                  <a:gd name="T104" fmla="*/ 2147483647 w 343"/>
                  <a:gd name="T105" fmla="*/ 2147483647 h 333"/>
                  <a:gd name="T106" fmla="*/ 2147483647 w 343"/>
                  <a:gd name="T107" fmla="*/ 2147483647 h 333"/>
                  <a:gd name="T108" fmla="*/ 2147483647 w 343"/>
                  <a:gd name="T109" fmla="*/ 2147483647 h 33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43"/>
                  <a:gd name="T166" fmla="*/ 0 h 333"/>
                  <a:gd name="T167" fmla="*/ 343 w 343"/>
                  <a:gd name="T168" fmla="*/ 333 h 33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43" h="333">
                    <a:moveTo>
                      <a:pt x="28" y="267"/>
                    </a:moveTo>
                    <a:cubicBezTo>
                      <a:pt x="28" y="267"/>
                      <a:pt x="31" y="255"/>
                      <a:pt x="20" y="247"/>
                    </a:cubicBezTo>
                    <a:cubicBezTo>
                      <a:pt x="20" y="247"/>
                      <a:pt x="7" y="242"/>
                      <a:pt x="16" y="227"/>
                    </a:cubicBezTo>
                    <a:cubicBezTo>
                      <a:pt x="16" y="227"/>
                      <a:pt x="23" y="219"/>
                      <a:pt x="18" y="197"/>
                    </a:cubicBezTo>
                    <a:cubicBezTo>
                      <a:pt x="18" y="197"/>
                      <a:pt x="13" y="197"/>
                      <a:pt x="15" y="179"/>
                    </a:cubicBezTo>
                    <a:cubicBezTo>
                      <a:pt x="15" y="179"/>
                      <a:pt x="0" y="177"/>
                      <a:pt x="48" y="134"/>
                    </a:cubicBezTo>
                    <a:cubicBezTo>
                      <a:pt x="48" y="134"/>
                      <a:pt x="98" y="73"/>
                      <a:pt x="148" y="45"/>
                    </a:cubicBezTo>
                    <a:cubicBezTo>
                      <a:pt x="148" y="45"/>
                      <a:pt x="145" y="31"/>
                      <a:pt x="172" y="32"/>
                    </a:cubicBezTo>
                    <a:cubicBezTo>
                      <a:pt x="172" y="32"/>
                      <a:pt x="191" y="36"/>
                      <a:pt x="189" y="24"/>
                    </a:cubicBezTo>
                    <a:cubicBezTo>
                      <a:pt x="189" y="24"/>
                      <a:pt x="186" y="12"/>
                      <a:pt x="201" y="13"/>
                    </a:cubicBezTo>
                    <a:cubicBezTo>
                      <a:pt x="201" y="13"/>
                      <a:pt x="202" y="7"/>
                      <a:pt x="201" y="0"/>
                    </a:cubicBezTo>
                    <a:cubicBezTo>
                      <a:pt x="210" y="11"/>
                      <a:pt x="219" y="10"/>
                      <a:pt x="219" y="10"/>
                    </a:cubicBezTo>
                    <a:cubicBezTo>
                      <a:pt x="230" y="7"/>
                      <a:pt x="234" y="14"/>
                      <a:pt x="234" y="14"/>
                    </a:cubicBezTo>
                    <a:cubicBezTo>
                      <a:pt x="243" y="14"/>
                      <a:pt x="244" y="22"/>
                      <a:pt x="244" y="22"/>
                    </a:cubicBezTo>
                    <a:cubicBezTo>
                      <a:pt x="246" y="28"/>
                      <a:pt x="230" y="30"/>
                      <a:pt x="237" y="35"/>
                    </a:cubicBezTo>
                    <a:cubicBezTo>
                      <a:pt x="238" y="44"/>
                      <a:pt x="245" y="40"/>
                      <a:pt x="245" y="40"/>
                    </a:cubicBezTo>
                    <a:cubicBezTo>
                      <a:pt x="256" y="41"/>
                      <a:pt x="259" y="48"/>
                      <a:pt x="259" y="48"/>
                    </a:cubicBezTo>
                    <a:cubicBezTo>
                      <a:pt x="263" y="63"/>
                      <a:pt x="274" y="58"/>
                      <a:pt x="274" y="58"/>
                    </a:cubicBezTo>
                    <a:cubicBezTo>
                      <a:pt x="284" y="53"/>
                      <a:pt x="295" y="58"/>
                      <a:pt x="295" y="58"/>
                    </a:cubicBezTo>
                    <a:cubicBezTo>
                      <a:pt x="305" y="61"/>
                      <a:pt x="304" y="69"/>
                      <a:pt x="304" y="69"/>
                    </a:cubicBezTo>
                    <a:cubicBezTo>
                      <a:pt x="301" y="75"/>
                      <a:pt x="318" y="72"/>
                      <a:pt x="318" y="72"/>
                    </a:cubicBezTo>
                    <a:cubicBezTo>
                      <a:pt x="322" y="78"/>
                      <a:pt x="315" y="84"/>
                      <a:pt x="315" y="84"/>
                    </a:cubicBezTo>
                    <a:cubicBezTo>
                      <a:pt x="312" y="101"/>
                      <a:pt x="318" y="108"/>
                      <a:pt x="318" y="108"/>
                    </a:cubicBezTo>
                    <a:cubicBezTo>
                      <a:pt x="318" y="108"/>
                      <a:pt x="318" y="108"/>
                      <a:pt x="318" y="108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33" y="124"/>
                      <a:pt x="333" y="124"/>
                      <a:pt x="333" y="124"/>
                    </a:cubicBezTo>
                    <a:cubicBezTo>
                      <a:pt x="343" y="135"/>
                      <a:pt x="333" y="144"/>
                      <a:pt x="333" y="144"/>
                    </a:cubicBezTo>
                    <a:cubicBezTo>
                      <a:pt x="333" y="151"/>
                      <a:pt x="319" y="152"/>
                      <a:pt x="319" y="152"/>
                    </a:cubicBezTo>
                    <a:cubicBezTo>
                      <a:pt x="289" y="151"/>
                      <a:pt x="296" y="164"/>
                      <a:pt x="296" y="164"/>
                    </a:cubicBezTo>
                    <a:cubicBezTo>
                      <a:pt x="303" y="172"/>
                      <a:pt x="289" y="172"/>
                      <a:pt x="289" y="172"/>
                    </a:cubicBezTo>
                    <a:cubicBezTo>
                      <a:pt x="280" y="194"/>
                      <a:pt x="274" y="190"/>
                      <a:pt x="274" y="190"/>
                    </a:cubicBezTo>
                    <a:cubicBezTo>
                      <a:pt x="269" y="197"/>
                      <a:pt x="259" y="191"/>
                      <a:pt x="254" y="199"/>
                    </a:cubicBezTo>
                    <a:cubicBezTo>
                      <a:pt x="251" y="201"/>
                      <a:pt x="250" y="209"/>
                      <a:pt x="250" y="209"/>
                    </a:cubicBezTo>
                    <a:cubicBezTo>
                      <a:pt x="250" y="209"/>
                      <a:pt x="241" y="212"/>
                      <a:pt x="239" y="204"/>
                    </a:cubicBezTo>
                    <a:cubicBezTo>
                      <a:pt x="239" y="204"/>
                      <a:pt x="228" y="198"/>
                      <a:pt x="222" y="205"/>
                    </a:cubicBezTo>
                    <a:cubicBezTo>
                      <a:pt x="222" y="205"/>
                      <a:pt x="209" y="202"/>
                      <a:pt x="212" y="219"/>
                    </a:cubicBezTo>
                    <a:cubicBezTo>
                      <a:pt x="212" y="219"/>
                      <a:pt x="215" y="237"/>
                      <a:pt x="201" y="238"/>
                    </a:cubicBezTo>
                    <a:cubicBezTo>
                      <a:pt x="201" y="238"/>
                      <a:pt x="199" y="248"/>
                      <a:pt x="202" y="254"/>
                    </a:cubicBezTo>
                    <a:cubicBezTo>
                      <a:pt x="202" y="254"/>
                      <a:pt x="214" y="253"/>
                      <a:pt x="215" y="257"/>
                    </a:cubicBezTo>
                    <a:cubicBezTo>
                      <a:pt x="215" y="257"/>
                      <a:pt x="215" y="265"/>
                      <a:pt x="192" y="264"/>
                    </a:cubicBezTo>
                    <a:cubicBezTo>
                      <a:pt x="192" y="264"/>
                      <a:pt x="171" y="263"/>
                      <a:pt x="162" y="267"/>
                    </a:cubicBezTo>
                    <a:cubicBezTo>
                      <a:pt x="162" y="267"/>
                      <a:pt x="158" y="273"/>
                      <a:pt x="138" y="269"/>
                    </a:cubicBezTo>
                    <a:cubicBezTo>
                      <a:pt x="138" y="269"/>
                      <a:pt x="118" y="262"/>
                      <a:pt x="121" y="278"/>
                    </a:cubicBezTo>
                    <a:cubicBezTo>
                      <a:pt x="121" y="278"/>
                      <a:pt x="119" y="285"/>
                      <a:pt x="110" y="288"/>
                    </a:cubicBezTo>
                    <a:cubicBezTo>
                      <a:pt x="110" y="288"/>
                      <a:pt x="101" y="291"/>
                      <a:pt x="102" y="306"/>
                    </a:cubicBezTo>
                    <a:cubicBezTo>
                      <a:pt x="102" y="306"/>
                      <a:pt x="106" y="316"/>
                      <a:pt x="100" y="333"/>
                    </a:cubicBezTo>
                    <a:cubicBezTo>
                      <a:pt x="100" y="333"/>
                      <a:pt x="100" y="333"/>
                      <a:pt x="100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3" y="333"/>
                      <a:pt x="83" y="333"/>
                    </a:cubicBezTo>
                    <a:cubicBezTo>
                      <a:pt x="83" y="333"/>
                      <a:pt x="80" y="324"/>
                      <a:pt x="69" y="324"/>
                    </a:cubicBezTo>
                    <a:cubicBezTo>
                      <a:pt x="69" y="324"/>
                      <a:pt x="57" y="326"/>
                      <a:pt x="55" y="313"/>
                    </a:cubicBezTo>
                    <a:cubicBezTo>
                      <a:pt x="55" y="313"/>
                      <a:pt x="55" y="297"/>
                      <a:pt x="43" y="304"/>
                    </a:cubicBezTo>
                    <a:cubicBezTo>
                      <a:pt x="43" y="304"/>
                      <a:pt x="33" y="303"/>
                      <a:pt x="31" y="295"/>
                    </a:cubicBezTo>
                    <a:cubicBezTo>
                      <a:pt x="31" y="295"/>
                      <a:pt x="25" y="292"/>
                      <a:pt x="28" y="267"/>
                    </a:cubicBezTo>
                    <a:cubicBezTo>
                      <a:pt x="28" y="267"/>
                      <a:pt x="28" y="267"/>
                      <a:pt x="28" y="26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6" name="Freeform 56"/>
              <p:cNvSpPr>
                <a:spLocks/>
              </p:cNvSpPr>
              <p:nvPr/>
            </p:nvSpPr>
            <p:spPr bwMode="auto">
              <a:xfrm>
                <a:off x="1250705" y="3088713"/>
                <a:ext cx="538255" cy="799055"/>
              </a:xfrm>
              <a:custGeom>
                <a:avLst/>
                <a:gdLst>
                  <a:gd name="T0" fmla="*/ 2147483647 w 190"/>
                  <a:gd name="T1" fmla="*/ 2147483647 h 320"/>
                  <a:gd name="T2" fmla="*/ 2147483647 w 190"/>
                  <a:gd name="T3" fmla="*/ 2147483647 h 320"/>
                  <a:gd name="T4" fmla="*/ 2147483647 w 190"/>
                  <a:gd name="T5" fmla="*/ 2147483647 h 320"/>
                  <a:gd name="T6" fmla="*/ 2147483647 w 190"/>
                  <a:gd name="T7" fmla="*/ 2147483647 h 320"/>
                  <a:gd name="T8" fmla="*/ 2147483647 w 190"/>
                  <a:gd name="T9" fmla="*/ 2147483647 h 320"/>
                  <a:gd name="T10" fmla="*/ 2147483647 w 190"/>
                  <a:gd name="T11" fmla="*/ 2147483647 h 320"/>
                  <a:gd name="T12" fmla="*/ 2147483647 w 190"/>
                  <a:gd name="T13" fmla="*/ 2147483647 h 320"/>
                  <a:gd name="T14" fmla="*/ 2147483647 w 190"/>
                  <a:gd name="T15" fmla="*/ 2147483647 h 320"/>
                  <a:gd name="T16" fmla="*/ 2147483647 w 190"/>
                  <a:gd name="T17" fmla="*/ 2147483647 h 320"/>
                  <a:gd name="T18" fmla="*/ 2147483647 w 190"/>
                  <a:gd name="T19" fmla="*/ 2147483647 h 320"/>
                  <a:gd name="T20" fmla="*/ 2147483647 w 190"/>
                  <a:gd name="T21" fmla="*/ 2147483647 h 320"/>
                  <a:gd name="T22" fmla="*/ 2147483647 w 190"/>
                  <a:gd name="T23" fmla="*/ 2147483647 h 320"/>
                  <a:gd name="T24" fmla="*/ 2147483647 w 190"/>
                  <a:gd name="T25" fmla="*/ 2147483647 h 320"/>
                  <a:gd name="T26" fmla="*/ 2147483647 w 190"/>
                  <a:gd name="T27" fmla="*/ 2147483647 h 320"/>
                  <a:gd name="T28" fmla="*/ 2147483647 w 190"/>
                  <a:gd name="T29" fmla="*/ 2147483647 h 320"/>
                  <a:gd name="T30" fmla="*/ 2147483647 w 190"/>
                  <a:gd name="T31" fmla="*/ 2147483647 h 320"/>
                  <a:gd name="T32" fmla="*/ 2147483647 w 190"/>
                  <a:gd name="T33" fmla="*/ 2147483647 h 320"/>
                  <a:gd name="T34" fmla="*/ 2147483647 w 190"/>
                  <a:gd name="T35" fmla="*/ 2147483647 h 320"/>
                  <a:gd name="T36" fmla="*/ 2147483647 w 190"/>
                  <a:gd name="T37" fmla="*/ 2147483647 h 320"/>
                  <a:gd name="T38" fmla="*/ 2147483647 w 190"/>
                  <a:gd name="T39" fmla="*/ 2147483647 h 320"/>
                  <a:gd name="T40" fmla="*/ 2147483647 w 190"/>
                  <a:gd name="T41" fmla="*/ 2147483647 h 320"/>
                  <a:gd name="T42" fmla="*/ 2147483647 w 190"/>
                  <a:gd name="T43" fmla="*/ 2147483647 h 320"/>
                  <a:gd name="T44" fmla="*/ 2147483647 w 190"/>
                  <a:gd name="T45" fmla="*/ 2147483647 h 320"/>
                  <a:gd name="T46" fmla="*/ 2147483647 w 190"/>
                  <a:gd name="T47" fmla="*/ 2147483647 h 320"/>
                  <a:gd name="T48" fmla="*/ 2147483647 w 190"/>
                  <a:gd name="T49" fmla="*/ 2147483647 h 320"/>
                  <a:gd name="T50" fmla="*/ 2147483647 w 190"/>
                  <a:gd name="T51" fmla="*/ 2147483647 h 320"/>
                  <a:gd name="T52" fmla="*/ 2147483647 w 190"/>
                  <a:gd name="T53" fmla="*/ 2147483647 h 320"/>
                  <a:gd name="T54" fmla="*/ 2147483647 w 190"/>
                  <a:gd name="T55" fmla="*/ 2147483647 h 320"/>
                  <a:gd name="T56" fmla="*/ 2147483647 w 190"/>
                  <a:gd name="T57" fmla="*/ 2147483647 h 320"/>
                  <a:gd name="T58" fmla="*/ 2147483647 w 190"/>
                  <a:gd name="T59" fmla="*/ 2147483647 h 320"/>
                  <a:gd name="T60" fmla="*/ 2147483647 w 190"/>
                  <a:gd name="T61" fmla="*/ 2147483647 h 320"/>
                  <a:gd name="T62" fmla="*/ 0 w 190"/>
                  <a:gd name="T63" fmla="*/ 2147483647 h 320"/>
                  <a:gd name="T64" fmla="*/ 2147483647 w 190"/>
                  <a:gd name="T65" fmla="*/ 2147483647 h 320"/>
                  <a:gd name="T66" fmla="*/ 2147483647 w 190"/>
                  <a:gd name="T67" fmla="*/ 2147483647 h 320"/>
                  <a:gd name="T68" fmla="*/ 2147483647 w 190"/>
                  <a:gd name="T69" fmla="*/ 2147483647 h 320"/>
                  <a:gd name="T70" fmla="*/ 2147483647 w 190"/>
                  <a:gd name="T71" fmla="*/ 2147483647 h 320"/>
                  <a:gd name="T72" fmla="*/ 2147483647 w 190"/>
                  <a:gd name="T73" fmla="*/ 2147483647 h 320"/>
                  <a:gd name="T74" fmla="*/ 2147483647 w 190"/>
                  <a:gd name="T75" fmla="*/ 2147483647 h 320"/>
                  <a:gd name="T76" fmla="*/ 2147483647 w 190"/>
                  <a:gd name="T77" fmla="*/ 2147483647 h 320"/>
                  <a:gd name="T78" fmla="*/ 2147483647 w 190"/>
                  <a:gd name="T79" fmla="*/ 2147483647 h 320"/>
                  <a:gd name="T80" fmla="*/ 2147483647 w 190"/>
                  <a:gd name="T81" fmla="*/ 2147483647 h 320"/>
                  <a:gd name="T82" fmla="*/ 2147483647 w 190"/>
                  <a:gd name="T83" fmla="*/ 2147483647 h 320"/>
                  <a:gd name="T84" fmla="*/ 2147483647 w 190"/>
                  <a:gd name="T85" fmla="*/ 2147483647 h 320"/>
                  <a:gd name="T86" fmla="*/ 2147483647 w 190"/>
                  <a:gd name="T87" fmla="*/ 2147483647 h 320"/>
                  <a:gd name="T88" fmla="*/ 2147483647 w 190"/>
                  <a:gd name="T89" fmla="*/ 2147483647 h 32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90"/>
                  <a:gd name="T136" fmla="*/ 0 h 320"/>
                  <a:gd name="T137" fmla="*/ 190 w 190"/>
                  <a:gd name="T138" fmla="*/ 320 h 32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90" h="320">
                    <a:moveTo>
                      <a:pt x="96" y="288"/>
                    </a:moveTo>
                    <a:cubicBezTo>
                      <a:pt x="96" y="288"/>
                      <a:pt x="104" y="286"/>
                      <a:pt x="104" y="292"/>
                    </a:cubicBezTo>
                    <a:cubicBezTo>
                      <a:pt x="104" y="292"/>
                      <a:pt x="107" y="302"/>
                      <a:pt x="114" y="294"/>
                    </a:cubicBezTo>
                    <a:cubicBezTo>
                      <a:pt x="114" y="294"/>
                      <a:pt x="122" y="284"/>
                      <a:pt x="126" y="302"/>
                    </a:cubicBezTo>
                    <a:cubicBezTo>
                      <a:pt x="126" y="302"/>
                      <a:pt x="120" y="319"/>
                      <a:pt x="134" y="304"/>
                    </a:cubicBezTo>
                    <a:cubicBezTo>
                      <a:pt x="134" y="304"/>
                      <a:pt x="148" y="291"/>
                      <a:pt x="151" y="309"/>
                    </a:cubicBezTo>
                    <a:cubicBezTo>
                      <a:pt x="151" y="309"/>
                      <a:pt x="155" y="320"/>
                      <a:pt x="165" y="318"/>
                    </a:cubicBezTo>
                    <a:cubicBezTo>
                      <a:pt x="165" y="318"/>
                      <a:pt x="174" y="316"/>
                      <a:pt x="180" y="320"/>
                    </a:cubicBezTo>
                    <a:cubicBezTo>
                      <a:pt x="182" y="309"/>
                      <a:pt x="175" y="303"/>
                      <a:pt x="175" y="303"/>
                    </a:cubicBezTo>
                    <a:cubicBezTo>
                      <a:pt x="166" y="294"/>
                      <a:pt x="169" y="266"/>
                      <a:pt x="169" y="266"/>
                    </a:cubicBezTo>
                    <a:cubicBezTo>
                      <a:pt x="165" y="249"/>
                      <a:pt x="169" y="223"/>
                      <a:pt x="169" y="223"/>
                    </a:cubicBezTo>
                    <a:cubicBezTo>
                      <a:pt x="175" y="216"/>
                      <a:pt x="166" y="201"/>
                      <a:pt x="173" y="188"/>
                    </a:cubicBezTo>
                    <a:cubicBezTo>
                      <a:pt x="179" y="170"/>
                      <a:pt x="171" y="153"/>
                      <a:pt x="171" y="153"/>
                    </a:cubicBezTo>
                    <a:cubicBezTo>
                      <a:pt x="166" y="139"/>
                      <a:pt x="172" y="134"/>
                      <a:pt x="172" y="134"/>
                    </a:cubicBezTo>
                    <a:cubicBezTo>
                      <a:pt x="172" y="134"/>
                      <a:pt x="178" y="128"/>
                      <a:pt x="178" y="111"/>
                    </a:cubicBezTo>
                    <a:cubicBezTo>
                      <a:pt x="175" y="109"/>
                      <a:pt x="179" y="100"/>
                      <a:pt x="179" y="100"/>
                    </a:cubicBezTo>
                    <a:cubicBezTo>
                      <a:pt x="184" y="93"/>
                      <a:pt x="178" y="89"/>
                      <a:pt x="178" y="89"/>
                    </a:cubicBezTo>
                    <a:cubicBezTo>
                      <a:pt x="168" y="65"/>
                      <a:pt x="182" y="55"/>
                      <a:pt x="182" y="55"/>
                    </a:cubicBezTo>
                    <a:cubicBezTo>
                      <a:pt x="182" y="32"/>
                      <a:pt x="190" y="42"/>
                      <a:pt x="189" y="24"/>
                    </a:cubicBezTo>
                    <a:cubicBezTo>
                      <a:pt x="182" y="22"/>
                      <a:pt x="188" y="0"/>
                      <a:pt x="178" y="10"/>
                    </a:cubicBezTo>
                    <a:cubicBezTo>
                      <a:pt x="170" y="2"/>
                      <a:pt x="159" y="5"/>
                      <a:pt x="159" y="5"/>
                    </a:cubicBezTo>
                    <a:cubicBezTo>
                      <a:pt x="150" y="3"/>
                      <a:pt x="144" y="12"/>
                      <a:pt x="144" y="12"/>
                    </a:cubicBezTo>
                    <a:cubicBezTo>
                      <a:pt x="137" y="20"/>
                      <a:pt x="120" y="20"/>
                      <a:pt x="120" y="20"/>
                    </a:cubicBezTo>
                    <a:cubicBezTo>
                      <a:pt x="110" y="26"/>
                      <a:pt x="98" y="7"/>
                      <a:pt x="96" y="23"/>
                    </a:cubicBezTo>
                    <a:cubicBezTo>
                      <a:pt x="98" y="31"/>
                      <a:pt x="83" y="45"/>
                      <a:pt x="83" y="45"/>
                    </a:cubicBezTo>
                    <a:cubicBezTo>
                      <a:pt x="94" y="56"/>
                      <a:pt x="83" y="65"/>
                      <a:pt x="83" y="65"/>
                    </a:cubicBezTo>
                    <a:cubicBezTo>
                      <a:pt x="83" y="72"/>
                      <a:pt x="69" y="73"/>
                      <a:pt x="69" y="73"/>
                    </a:cubicBezTo>
                    <a:cubicBezTo>
                      <a:pt x="39" y="72"/>
                      <a:pt x="46" y="85"/>
                      <a:pt x="46" y="85"/>
                    </a:cubicBezTo>
                    <a:cubicBezTo>
                      <a:pt x="53" y="93"/>
                      <a:pt x="39" y="93"/>
                      <a:pt x="39" y="93"/>
                    </a:cubicBezTo>
                    <a:cubicBezTo>
                      <a:pt x="30" y="115"/>
                      <a:pt x="24" y="111"/>
                      <a:pt x="24" y="111"/>
                    </a:cubicBezTo>
                    <a:cubicBezTo>
                      <a:pt x="19" y="118"/>
                      <a:pt x="9" y="112"/>
                      <a:pt x="4" y="120"/>
                    </a:cubicBezTo>
                    <a:cubicBezTo>
                      <a:pt x="1" y="122"/>
                      <a:pt x="0" y="130"/>
                      <a:pt x="0" y="130"/>
                    </a:cubicBezTo>
                    <a:cubicBezTo>
                      <a:pt x="0" y="130"/>
                      <a:pt x="11" y="150"/>
                      <a:pt x="11" y="172"/>
                    </a:cubicBezTo>
                    <a:cubicBezTo>
                      <a:pt x="11" y="172"/>
                      <a:pt x="17" y="182"/>
                      <a:pt x="12" y="185"/>
                    </a:cubicBezTo>
                    <a:cubicBezTo>
                      <a:pt x="12" y="185"/>
                      <a:pt x="7" y="192"/>
                      <a:pt x="9" y="200"/>
                    </a:cubicBezTo>
                    <a:cubicBezTo>
                      <a:pt x="9" y="200"/>
                      <a:pt x="24" y="199"/>
                      <a:pt x="25" y="206"/>
                    </a:cubicBezTo>
                    <a:cubicBezTo>
                      <a:pt x="25" y="206"/>
                      <a:pt x="28" y="213"/>
                      <a:pt x="14" y="214"/>
                    </a:cubicBezTo>
                    <a:cubicBezTo>
                      <a:pt x="31" y="217"/>
                      <a:pt x="22" y="228"/>
                      <a:pt x="28" y="230"/>
                    </a:cubicBezTo>
                    <a:cubicBezTo>
                      <a:pt x="28" y="230"/>
                      <a:pt x="39" y="221"/>
                      <a:pt x="37" y="236"/>
                    </a:cubicBezTo>
                    <a:cubicBezTo>
                      <a:pt x="37" y="236"/>
                      <a:pt x="35" y="258"/>
                      <a:pt x="45" y="245"/>
                    </a:cubicBezTo>
                    <a:cubicBezTo>
                      <a:pt x="45" y="245"/>
                      <a:pt x="52" y="230"/>
                      <a:pt x="53" y="254"/>
                    </a:cubicBezTo>
                    <a:cubicBezTo>
                      <a:pt x="53" y="254"/>
                      <a:pt x="45" y="273"/>
                      <a:pt x="68" y="254"/>
                    </a:cubicBezTo>
                    <a:cubicBezTo>
                      <a:pt x="68" y="254"/>
                      <a:pt x="79" y="248"/>
                      <a:pt x="82" y="262"/>
                    </a:cubicBezTo>
                    <a:cubicBezTo>
                      <a:pt x="82" y="262"/>
                      <a:pt x="99" y="267"/>
                      <a:pt x="96" y="288"/>
                    </a:cubicBezTo>
                    <a:cubicBezTo>
                      <a:pt x="96" y="288"/>
                      <a:pt x="96" y="288"/>
                      <a:pt x="96" y="288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7" name="Freeform 55"/>
              <p:cNvSpPr>
                <a:spLocks/>
              </p:cNvSpPr>
              <p:nvPr/>
            </p:nvSpPr>
            <p:spPr bwMode="auto">
              <a:xfrm>
                <a:off x="984900" y="2301443"/>
                <a:ext cx="796085" cy="760163"/>
              </a:xfrm>
              <a:custGeom>
                <a:avLst/>
                <a:gdLst>
                  <a:gd name="T0" fmla="*/ 2147483647 w 281"/>
                  <a:gd name="T1" fmla="*/ 2147483647 h 304"/>
                  <a:gd name="T2" fmla="*/ 2147483647 w 281"/>
                  <a:gd name="T3" fmla="*/ 2147483647 h 304"/>
                  <a:gd name="T4" fmla="*/ 2147483647 w 281"/>
                  <a:gd name="T5" fmla="*/ 2147483647 h 304"/>
                  <a:gd name="T6" fmla="*/ 2147483647 w 281"/>
                  <a:gd name="T7" fmla="*/ 2147483647 h 304"/>
                  <a:gd name="T8" fmla="*/ 2147483647 w 281"/>
                  <a:gd name="T9" fmla="*/ 2147483647 h 304"/>
                  <a:gd name="T10" fmla="*/ 2147483647 w 281"/>
                  <a:gd name="T11" fmla="*/ 2147483647 h 304"/>
                  <a:gd name="T12" fmla="*/ 2147483647 w 281"/>
                  <a:gd name="T13" fmla="*/ 2147483647 h 304"/>
                  <a:gd name="T14" fmla="*/ 2147483647 w 281"/>
                  <a:gd name="T15" fmla="*/ 2147483647 h 304"/>
                  <a:gd name="T16" fmla="*/ 2147483647 w 281"/>
                  <a:gd name="T17" fmla="*/ 2147483647 h 304"/>
                  <a:gd name="T18" fmla="*/ 2147483647 w 281"/>
                  <a:gd name="T19" fmla="*/ 2147483647 h 304"/>
                  <a:gd name="T20" fmla="*/ 2147483647 w 281"/>
                  <a:gd name="T21" fmla="*/ 2147483647 h 304"/>
                  <a:gd name="T22" fmla="*/ 2147483647 w 281"/>
                  <a:gd name="T23" fmla="*/ 2147483647 h 304"/>
                  <a:gd name="T24" fmla="*/ 2147483647 w 281"/>
                  <a:gd name="T25" fmla="*/ 2147483647 h 304"/>
                  <a:gd name="T26" fmla="*/ 2147483647 w 281"/>
                  <a:gd name="T27" fmla="*/ 2147483647 h 304"/>
                  <a:gd name="T28" fmla="*/ 2147483647 w 281"/>
                  <a:gd name="T29" fmla="*/ 2147483647 h 304"/>
                  <a:gd name="T30" fmla="*/ 2147483647 w 281"/>
                  <a:gd name="T31" fmla="*/ 2147483647 h 304"/>
                  <a:gd name="T32" fmla="*/ 2147483647 w 281"/>
                  <a:gd name="T33" fmla="*/ 2147483647 h 304"/>
                  <a:gd name="T34" fmla="*/ 2147483647 w 281"/>
                  <a:gd name="T35" fmla="*/ 2147483647 h 304"/>
                  <a:gd name="T36" fmla="*/ 2147483647 w 281"/>
                  <a:gd name="T37" fmla="*/ 2147483647 h 304"/>
                  <a:gd name="T38" fmla="*/ 2147483647 w 281"/>
                  <a:gd name="T39" fmla="*/ 2147483647 h 304"/>
                  <a:gd name="T40" fmla="*/ 2147483647 w 281"/>
                  <a:gd name="T41" fmla="*/ 2147483647 h 304"/>
                  <a:gd name="T42" fmla="*/ 2147483647 w 281"/>
                  <a:gd name="T43" fmla="*/ 2147483647 h 304"/>
                  <a:gd name="T44" fmla="*/ 2147483647 w 281"/>
                  <a:gd name="T45" fmla="*/ 2147483647 h 304"/>
                  <a:gd name="T46" fmla="*/ 2147483647 w 281"/>
                  <a:gd name="T47" fmla="*/ 2147483647 h 304"/>
                  <a:gd name="T48" fmla="*/ 2147483647 w 281"/>
                  <a:gd name="T49" fmla="*/ 2147483647 h 304"/>
                  <a:gd name="T50" fmla="*/ 2147483647 w 281"/>
                  <a:gd name="T51" fmla="*/ 2147483647 h 304"/>
                  <a:gd name="T52" fmla="*/ 2147483647 w 281"/>
                  <a:gd name="T53" fmla="*/ 2147483647 h 304"/>
                  <a:gd name="T54" fmla="*/ 2147483647 w 281"/>
                  <a:gd name="T55" fmla="*/ 2147483647 h 304"/>
                  <a:gd name="T56" fmla="*/ 2147483647 w 281"/>
                  <a:gd name="T57" fmla="*/ 2147483647 h 304"/>
                  <a:gd name="T58" fmla="*/ 2147483647 w 281"/>
                  <a:gd name="T59" fmla="*/ 2147483647 h 304"/>
                  <a:gd name="T60" fmla="*/ 2147483647 w 281"/>
                  <a:gd name="T61" fmla="*/ 2147483647 h 304"/>
                  <a:gd name="T62" fmla="*/ 2147483647 w 281"/>
                  <a:gd name="T63" fmla="*/ 2147483647 h 304"/>
                  <a:gd name="T64" fmla="*/ 2147483647 w 281"/>
                  <a:gd name="T65" fmla="*/ 2147483647 h 304"/>
                  <a:gd name="T66" fmla="*/ 2147483647 w 281"/>
                  <a:gd name="T67" fmla="*/ 2147483647 h 304"/>
                  <a:gd name="T68" fmla="*/ 2147483647 w 281"/>
                  <a:gd name="T69" fmla="*/ 2147483647 h 304"/>
                  <a:gd name="T70" fmla="*/ 2147483647 w 281"/>
                  <a:gd name="T71" fmla="*/ 2147483647 h 304"/>
                  <a:gd name="T72" fmla="*/ 2147483647 w 281"/>
                  <a:gd name="T73" fmla="*/ 2147483647 h 304"/>
                  <a:gd name="T74" fmla="*/ 2147483647 w 281"/>
                  <a:gd name="T75" fmla="*/ 2147483647 h 304"/>
                  <a:gd name="T76" fmla="*/ 2147483647 w 281"/>
                  <a:gd name="T77" fmla="*/ 2147483647 h 304"/>
                  <a:gd name="T78" fmla="*/ 2147483647 w 281"/>
                  <a:gd name="T79" fmla="*/ 2147483647 h 304"/>
                  <a:gd name="T80" fmla="*/ 2147483647 w 281"/>
                  <a:gd name="T81" fmla="*/ 2147483647 h 304"/>
                  <a:gd name="T82" fmla="*/ 2147483647 w 281"/>
                  <a:gd name="T83" fmla="*/ 2147483647 h 304"/>
                  <a:gd name="T84" fmla="*/ 2147483647 w 281"/>
                  <a:gd name="T85" fmla="*/ 2147483647 h 304"/>
                  <a:gd name="T86" fmla="*/ 2147483647 w 281"/>
                  <a:gd name="T87" fmla="*/ 2147483647 h 304"/>
                  <a:gd name="T88" fmla="*/ 2147483647 w 281"/>
                  <a:gd name="T89" fmla="*/ 2147483647 h 304"/>
                  <a:gd name="T90" fmla="*/ 2147483647 w 281"/>
                  <a:gd name="T91" fmla="*/ 2147483647 h 304"/>
                  <a:gd name="T92" fmla="*/ 2147483647 w 281"/>
                  <a:gd name="T93" fmla="*/ 2147483647 h 304"/>
                  <a:gd name="T94" fmla="*/ 2147483647 w 281"/>
                  <a:gd name="T95" fmla="*/ 2147483647 h 304"/>
                  <a:gd name="T96" fmla="*/ 2147483647 w 281"/>
                  <a:gd name="T97" fmla="*/ 2147483647 h 304"/>
                  <a:gd name="T98" fmla="*/ 2147483647 w 281"/>
                  <a:gd name="T99" fmla="*/ 2147483647 h 304"/>
                  <a:gd name="T100" fmla="*/ 2147483647 w 281"/>
                  <a:gd name="T101" fmla="*/ 2147483647 h 304"/>
                  <a:gd name="T102" fmla="*/ 2147483647 w 281"/>
                  <a:gd name="T103" fmla="*/ 2147483647 h 304"/>
                  <a:gd name="T104" fmla="*/ 2147483647 w 281"/>
                  <a:gd name="T105" fmla="*/ 2147483647 h 304"/>
                  <a:gd name="T106" fmla="*/ 2147483647 w 281"/>
                  <a:gd name="T107" fmla="*/ 2147483647 h 30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81"/>
                  <a:gd name="T163" fmla="*/ 0 h 304"/>
                  <a:gd name="T164" fmla="*/ 281 w 281"/>
                  <a:gd name="T165" fmla="*/ 304 h 30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81" h="304">
                    <a:moveTo>
                      <a:pt x="45" y="236"/>
                    </a:moveTo>
                    <a:cubicBezTo>
                      <a:pt x="45" y="227"/>
                      <a:pt x="42" y="216"/>
                      <a:pt x="36" y="206"/>
                    </a:cubicBezTo>
                    <a:cubicBezTo>
                      <a:pt x="36" y="206"/>
                      <a:pt x="24" y="198"/>
                      <a:pt x="37" y="194"/>
                    </a:cubicBezTo>
                    <a:cubicBezTo>
                      <a:pt x="37" y="194"/>
                      <a:pt x="43" y="192"/>
                      <a:pt x="53" y="194"/>
                    </a:cubicBezTo>
                    <a:cubicBezTo>
                      <a:pt x="53" y="184"/>
                      <a:pt x="32" y="184"/>
                      <a:pt x="29" y="149"/>
                    </a:cubicBezTo>
                    <a:cubicBezTo>
                      <a:pt x="23" y="143"/>
                      <a:pt x="31" y="128"/>
                      <a:pt x="20" y="126"/>
                    </a:cubicBezTo>
                    <a:cubicBezTo>
                      <a:pt x="8" y="124"/>
                      <a:pt x="14" y="108"/>
                      <a:pt x="9" y="107"/>
                    </a:cubicBezTo>
                    <a:cubicBezTo>
                      <a:pt x="9" y="107"/>
                      <a:pt x="0" y="103"/>
                      <a:pt x="12" y="87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5" y="63"/>
                      <a:pt x="6" y="45"/>
                      <a:pt x="18" y="46"/>
                    </a:cubicBezTo>
                    <a:cubicBezTo>
                      <a:pt x="18" y="46"/>
                      <a:pt x="38" y="44"/>
                      <a:pt x="42" y="52"/>
                    </a:cubicBezTo>
                    <a:cubicBezTo>
                      <a:pt x="42" y="52"/>
                      <a:pt x="37" y="68"/>
                      <a:pt x="60" y="50"/>
                    </a:cubicBezTo>
                    <a:cubicBezTo>
                      <a:pt x="60" y="50"/>
                      <a:pt x="75" y="43"/>
                      <a:pt x="84" y="32"/>
                    </a:cubicBezTo>
                    <a:cubicBezTo>
                      <a:pt x="84" y="32"/>
                      <a:pt x="86" y="22"/>
                      <a:pt x="93" y="15"/>
                    </a:cubicBezTo>
                    <a:cubicBezTo>
                      <a:pt x="93" y="15"/>
                      <a:pt x="96" y="3"/>
                      <a:pt x="129" y="10"/>
                    </a:cubicBezTo>
                    <a:cubicBezTo>
                      <a:pt x="129" y="10"/>
                      <a:pt x="163" y="15"/>
                      <a:pt x="178" y="7"/>
                    </a:cubicBezTo>
                    <a:cubicBezTo>
                      <a:pt x="204" y="0"/>
                      <a:pt x="196" y="8"/>
                      <a:pt x="206" y="12"/>
                    </a:cubicBezTo>
                    <a:cubicBezTo>
                      <a:pt x="206" y="12"/>
                      <a:pt x="213" y="13"/>
                      <a:pt x="225" y="14"/>
                    </a:cubicBezTo>
                    <a:cubicBezTo>
                      <a:pt x="224" y="23"/>
                      <a:pt x="228" y="26"/>
                      <a:pt x="228" y="26"/>
                    </a:cubicBezTo>
                    <a:cubicBezTo>
                      <a:pt x="236" y="25"/>
                      <a:pt x="233" y="41"/>
                      <a:pt x="225" y="39"/>
                    </a:cubicBezTo>
                    <a:cubicBezTo>
                      <a:pt x="221" y="45"/>
                      <a:pt x="218" y="54"/>
                      <a:pt x="218" y="54"/>
                    </a:cubicBezTo>
                    <a:cubicBezTo>
                      <a:pt x="214" y="68"/>
                      <a:pt x="221" y="74"/>
                      <a:pt x="221" y="74"/>
                    </a:cubicBezTo>
                    <a:cubicBezTo>
                      <a:pt x="228" y="80"/>
                      <a:pt x="222" y="85"/>
                      <a:pt x="222" y="85"/>
                    </a:cubicBezTo>
                    <a:cubicBezTo>
                      <a:pt x="223" y="107"/>
                      <a:pt x="218" y="114"/>
                      <a:pt x="218" y="114"/>
                    </a:cubicBezTo>
                    <a:cubicBezTo>
                      <a:pt x="221" y="130"/>
                      <a:pt x="229" y="116"/>
                      <a:pt x="229" y="116"/>
                    </a:cubicBezTo>
                    <a:cubicBezTo>
                      <a:pt x="246" y="110"/>
                      <a:pt x="248" y="126"/>
                      <a:pt x="248" y="126"/>
                    </a:cubicBezTo>
                    <a:cubicBezTo>
                      <a:pt x="252" y="141"/>
                      <a:pt x="259" y="143"/>
                      <a:pt x="259" y="143"/>
                    </a:cubicBezTo>
                    <a:cubicBezTo>
                      <a:pt x="281" y="162"/>
                      <a:pt x="267" y="162"/>
                      <a:pt x="267" y="162"/>
                    </a:cubicBezTo>
                    <a:cubicBezTo>
                      <a:pt x="258" y="165"/>
                      <a:pt x="258" y="174"/>
                      <a:pt x="258" y="174"/>
                    </a:cubicBezTo>
                    <a:cubicBezTo>
                      <a:pt x="276" y="173"/>
                      <a:pt x="272" y="186"/>
                      <a:pt x="272" y="186"/>
                    </a:cubicBezTo>
                    <a:cubicBezTo>
                      <a:pt x="273" y="196"/>
                      <a:pt x="257" y="192"/>
                      <a:pt x="257" y="195"/>
                    </a:cubicBezTo>
                    <a:cubicBezTo>
                      <a:pt x="271" y="205"/>
                      <a:pt x="259" y="210"/>
                      <a:pt x="259" y="210"/>
                    </a:cubicBezTo>
                    <a:cubicBezTo>
                      <a:pt x="260" y="217"/>
                      <a:pt x="249" y="221"/>
                      <a:pt x="249" y="221"/>
                    </a:cubicBezTo>
                    <a:cubicBezTo>
                      <a:pt x="242" y="225"/>
                      <a:pt x="245" y="235"/>
                      <a:pt x="245" y="235"/>
                    </a:cubicBezTo>
                    <a:cubicBezTo>
                      <a:pt x="246" y="258"/>
                      <a:pt x="232" y="247"/>
                      <a:pt x="232" y="247"/>
                    </a:cubicBezTo>
                    <a:cubicBezTo>
                      <a:pt x="224" y="247"/>
                      <a:pt x="225" y="237"/>
                      <a:pt x="217" y="238"/>
                    </a:cubicBezTo>
                    <a:cubicBezTo>
                      <a:pt x="210" y="236"/>
                      <a:pt x="210" y="243"/>
                      <a:pt x="199" y="243"/>
                    </a:cubicBezTo>
                    <a:cubicBezTo>
                      <a:pt x="184" y="239"/>
                      <a:pt x="182" y="247"/>
                      <a:pt x="182" y="247"/>
                    </a:cubicBezTo>
                    <a:cubicBezTo>
                      <a:pt x="177" y="252"/>
                      <a:pt x="181" y="265"/>
                      <a:pt x="170" y="260"/>
                    </a:cubicBezTo>
                    <a:cubicBezTo>
                      <a:pt x="153" y="257"/>
                      <a:pt x="157" y="280"/>
                      <a:pt x="157" y="280"/>
                    </a:cubicBezTo>
                    <a:cubicBezTo>
                      <a:pt x="168" y="291"/>
                      <a:pt x="157" y="295"/>
                      <a:pt x="157" y="295"/>
                    </a:cubicBezTo>
                    <a:cubicBezTo>
                      <a:pt x="155" y="301"/>
                      <a:pt x="148" y="304"/>
                      <a:pt x="148" y="304"/>
                    </a:cubicBezTo>
                    <a:cubicBezTo>
                      <a:pt x="148" y="304"/>
                      <a:pt x="149" y="297"/>
                      <a:pt x="139" y="294"/>
                    </a:cubicBezTo>
                    <a:cubicBezTo>
                      <a:pt x="139" y="294"/>
                      <a:pt x="128" y="289"/>
                      <a:pt x="118" y="294"/>
                    </a:cubicBezTo>
                    <a:cubicBezTo>
                      <a:pt x="118" y="294"/>
                      <a:pt x="107" y="299"/>
                      <a:pt x="103" y="284"/>
                    </a:cubicBezTo>
                    <a:cubicBezTo>
                      <a:pt x="103" y="284"/>
                      <a:pt x="100" y="277"/>
                      <a:pt x="89" y="276"/>
                    </a:cubicBezTo>
                    <a:cubicBezTo>
                      <a:pt x="89" y="276"/>
                      <a:pt x="82" y="280"/>
                      <a:pt x="81" y="271"/>
                    </a:cubicBezTo>
                    <a:cubicBezTo>
                      <a:pt x="74" y="266"/>
                      <a:pt x="90" y="264"/>
                      <a:pt x="88" y="258"/>
                    </a:cubicBezTo>
                    <a:cubicBezTo>
                      <a:pt x="88" y="258"/>
                      <a:pt x="87" y="250"/>
                      <a:pt x="78" y="250"/>
                    </a:cubicBezTo>
                    <a:cubicBezTo>
                      <a:pt x="78" y="250"/>
                      <a:pt x="74" y="243"/>
                      <a:pt x="63" y="246"/>
                    </a:cubicBezTo>
                    <a:cubicBezTo>
                      <a:pt x="63" y="246"/>
                      <a:pt x="54" y="247"/>
                      <a:pt x="45" y="236"/>
                    </a:cubicBezTo>
                    <a:cubicBezTo>
                      <a:pt x="45" y="236"/>
                      <a:pt x="45" y="236"/>
                      <a:pt x="45" y="23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8" name="Freeform 54"/>
              <p:cNvSpPr>
                <a:spLocks/>
              </p:cNvSpPr>
              <p:nvPr/>
            </p:nvSpPr>
            <p:spPr bwMode="auto">
              <a:xfrm>
                <a:off x="1394240" y="2323835"/>
                <a:ext cx="915697" cy="878018"/>
              </a:xfrm>
              <a:custGeom>
                <a:avLst/>
                <a:gdLst>
                  <a:gd name="T0" fmla="*/ 2147483647 w 323"/>
                  <a:gd name="T1" fmla="*/ 2147483647 h 351"/>
                  <a:gd name="T2" fmla="*/ 2147483647 w 323"/>
                  <a:gd name="T3" fmla="*/ 2147483647 h 351"/>
                  <a:gd name="T4" fmla="*/ 2147483647 w 323"/>
                  <a:gd name="T5" fmla="*/ 2147483647 h 351"/>
                  <a:gd name="T6" fmla="*/ 2147483647 w 323"/>
                  <a:gd name="T7" fmla="*/ 2147483647 h 351"/>
                  <a:gd name="T8" fmla="*/ 2147483647 w 323"/>
                  <a:gd name="T9" fmla="*/ 2147483647 h 351"/>
                  <a:gd name="T10" fmla="*/ 2147483647 w 323"/>
                  <a:gd name="T11" fmla="*/ 2147483647 h 351"/>
                  <a:gd name="T12" fmla="*/ 2147483647 w 323"/>
                  <a:gd name="T13" fmla="*/ 2147483647 h 351"/>
                  <a:gd name="T14" fmla="*/ 2147483647 w 323"/>
                  <a:gd name="T15" fmla="*/ 2147483647 h 351"/>
                  <a:gd name="T16" fmla="*/ 2147483647 w 323"/>
                  <a:gd name="T17" fmla="*/ 2147483647 h 351"/>
                  <a:gd name="T18" fmla="*/ 2147483647 w 323"/>
                  <a:gd name="T19" fmla="*/ 2147483647 h 351"/>
                  <a:gd name="T20" fmla="*/ 2147483647 w 323"/>
                  <a:gd name="T21" fmla="*/ 2147483647 h 351"/>
                  <a:gd name="T22" fmla="*/ 2147483647 w 323"/>
                  <a:gd name="T23" fmla="*/ 2147483647 h 351"/>
                  <a:gd name="T24" fmla="*/ 2147483647 w 323"/>
                  <a:gd name="T25" fmla="*/ 2147483647 h 351"/>
                  <a:gd name="T26" fmla="*/ 2147483647 w 323"/>
                  <a:gd name="T27" fmla="*/ 2147483647 h 351"/>
                  <a:gd name="T28" fmla="*/ 2147483647 w 323"/>
                  <a:gd name="T29" fmla="*/ 2147483647 h 351"/>
                  <a:gd name="T30" fmla="*/ 2147483647 w 323"/>
                  <a:gd name="T31" fmla="*/ 2147483647 h 351"/>
                  <a:gd name="T32" fmla="*/ 2147483647 w 323"/>
                  <a:gd name="T33" fmla="*/ 2147483647 h 351"/>
                  <a:gd name="T34" fmla="*/ 2147483647 w 323"/>
                  <a:gd name="T35" fmla="*/ 2147483647 h 351"/>
                  <a:gd name="T36" fmla="*/ 2147483647 w 323"/>
                  <a:gd name="T37" fmla="*/ 2147483647 h 351"/>
                  <a:gd name="T38" fmla="*/ 2147483647 w 323"/>
                  <a:gd name="T39" fmla="*/ 2147483647 h 351"/>
                  <a:gd name="T40" fmla="*/ 2147483647 w 323"/>
                  <a:gd name="T41" fmla="*/ 2147483647 h 351"/>
                  <a:gd name="T42" fmla="*/ 2147483647 w 323"/>
                  <a:gd name="T43" fmla="*/ 2147483647 h 351"/>
                  <a:gd name="T44" fmla="*/ 2147483647 w 323"/>
                  <a:gd name="T45" fmla="*/ 2147483647 h 351"/>
                  <a:gd name="T46" fmla="*/ 2147483647 w 323"/>
                  <a:gd name="T47" fmla="*/ 2147483647 h 351"/>
                  <a:gd name="T48" fmla="*/ 2147483647 w 323"/>
                  <a:gd name="T49" fmla="*/ 2147483647 h 351"/>
                  <a:gd name="T50" fmla="*/ 2147483647 w 323"/>
                  <a:gd name="T51" fmla="*/ 2147483647 h 351"/>
                  <a:gd name="T52" fmla="*/ 2147483647 w 323"/>
                  <a:gd name="T53" fmla="*/ 2147483647 h 351"/>
                  <a:gd name="T54" fmla="*/ 2147483647 w 323"/>
                  <a:gd name="T55" fmla="*/ 2147483647 h 351"/>
                  <a:gd name="T56" fmla="*/ 2147483647 w 323"/>
                  <a:gd name="T57" fmla="*/ 2147483647 h 351"/>
                  <a:gd name="T58" fmla="*/ 2147483647 w 323"/>
                  <a:gd name="T59" fmla="*/ 2147483647 h 351"/>
                  <a:gd name="T60" fmla="*/ 2147483647 w 323"/>
                  <a:gd name="T61" fmla="*/ 2147483647 h 351"/>
                  <a:gd name="T62" fmla="*/ 2147483647 w 323"/>
                  <a:gd name="T63" fmla="*/ 2147483647 h 351"/>
                  <a:gd name="T64" fmla="*/ 2147483647 w 323"/>
                  <a:gd name="T65" fmla="*/ 2147483647 h 351"/>
                  <a:gd name="T66" fmla="*/ 2147483647 w 323"/>
                  <a:gd name="T67" fmla="*/ 2147483647 h 351"/>
                  <a:gd name="T68" fmla="*/ 2147483647 w 323"/>
                  <a:gd name="T69" fmla="*/ 2147483647 h 351"/>
                  <a:gd name="T70" fmla="*/ 2147483647 w 323"/>
                  <a:gd name="T71" fmla="*/ 2147483647 h 351"/>
                  <a:gd name="T72" fmla="*/ 2147483647 w 323"/>
                  <a:gd name="T73" fmla="*/ 2147483647 h 351"/>
                  <a:gd name="T74" fmla="*/ 2147483647 w 323"/>
                  <a:gd name="T75" fmla="*/ 2147483647 h 3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23"/>
                  <a:gd name="T115" fmla="*/ 0 h 351"/>
                  <a:gd name="T116" fmla="*/ 323 w 323"/>
                  <a:gd name="T117" fmla="*/ 351 h 3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23" h="351">
                    <a:moveTo>
                      <a:pt x="80" y="4"/>
                    </a:moveTo>
                    <a:cubicBezTo>
                      <a:pt x="79" y="13"/>
                      <a:pt x="83" y="17"/>
                      <a:pt x="83" y="17"/>
                    </a:cubicBezTo>
                    <a:cubicBezTo>
                      <a:pt x="91" y="16"/>
                      <a:pt x="88" y="32"/>
                      <a:pt x="80" y="30"/>
                    </a:cubicBezTo>
                    <a:cubicBezTo>
                      <a:pt x="76" y="36"/>
                      <a:pt x="73" y="45"/>
                      <a:pt x="73" y="45"/>
                    </a:cubicBezTo>
                    <a:cubicBezTo>
                      <a:pt x="69" y="59"/>
                      <a:pt x="76" y="65"/>
                      <a:pt x="76" y="65"/>
                    </a:cubicBezTo>
                    <a:cubicBezTo>
                      <a:pt x="83" y="71"/>
                      <a:pt x="77" y="76"/>
                      <a:pt x="77" y="76"/>
                    </a:cubicBezTo>
                    <a:cubicBezTo>
                      <a:pt x="78" y="98"/>
                      <a:pt x="73" y="105"/>
                      <a:pt x="73" y="105"/>
                    </a:cubicBezTo>
                    <a:cubicBezTo>
                      <a:pt x="76" y="121"/>
                      <a:pt x="84" y="107"/>
                      <a:pt x="84" y="107"/>
                    </a:cubicBezTo>
                    <a:cubicBezTo>
                      <a:pt x="101" y="101"/>
                      <a:pt x="103" y="117"/>
                      <a:pt x="103" y="117"/>
                    </a:cubicBezTo>
                    <a:cubicBezTo>
                      <a:pt x="107" y="132"/>
                      <a:pt x="114" y="134"/>
                      <a:pt x="114" y="134"/>
                    </a:cubicBezTo>
                    <a:cubicBezTo>
                      <a:pt x="136" y="153"/>
                      <a:pt x="122" y="153"/>
                      <a:pt x="122" y="153"/>
                    </a:cubicBezTo>
                    <a:cubicBezTo>
                      <a:pt x="113" y="156"/>
                      <a:pt x="113" y="165"/>
                      <a:pt x="113" y="165"/>
                    </a:cubicBezTo>
                    <a:cubicBezTo>
                      <a:pt x="131" y="164"/>
                      <a:pt x="127" y="177"/>
                      <a:pt x="127" y="177"/>
                    </a:cubicBezTo>
                    <a:cubicBezTo>
                      <a:pt x="128" y="187"/>
                      <a:pt x="112" y="183"/>
                      <a:pt x="112" y="186"/>
                    </a:cubicBezTo>
                    <a:cubicBezTo>
                      <a:pt x="126" y="196"/>
                      <a:pt x="114" y="201"/>
                      <a:pt x="114" y="201"/>
                    </a:cubicBezTo>
                    <a:cubicBezTo>
                      <a:pt x="115" y="208"/>
                      <a:pt x="104" y="212"/>
                      <a:pt x="104" y="212"/>
                    </a:cubicBezTo>
                    <a:cubicBezTo>
                      <a:pt x="97" y="216"/>
                      <a:pt x="100" y="226"/>
                      <a:pt x="100" y="226"/>
                    </a:cubicBezTo>
                    <a:cubicBezTo>
                      <a:pt x="101" y="249"/>
                      <a:pt x="87" y="238"/>
                      <a:pt x="87" y="238"/>
                    </a:cubicBezTo>
                    <a:cubicBezTo>
                      <a:pt x="79" y="238"/>
                      <a:pt x="80" y="228"/>
                      <a:pt x="72" y="229"/>
                    </a:cubicBezTo>
                    <a:cubicBezTo>
                      <a:pt x="65" y="227"/>
                      <a:pt x="65" y="234"/>
                      <a:pt x="54" y="234"/>
                    </a:cubicBezTo>
                    <a:cubicBezTo>
                      <a:pt x="39" y="230"/>
                      <a:pt x="37" y="238"/>
                      <a:pt x="37" y="238"/>
                    </a:cubicBezTo>
                    <a:cubicBezTo>
                      <a:pt x="32" y="243"/>
                      <a:pt x="36" y="256"/>
                      <a:pt x="25" y="251"/>
                    </a:cubicBezTo>
                    <a:cubicBezTo>
                      <a:pt x="8" y="248"/>
                      <a:pt x="12" y="271"/>
                      <a:pt x="12" y="271"/>
                    </a:cubicBezTo>
                    <a:cubicBezTo>
                      <a:pt x="23" y="282"/>
                      <a:pt x="12" y="286"/>
                      <a:pt x="12" y="286"/>
                    </a:cubicBezTo>
                    <a:cubicBezTo>
                      <a:pt x="10" y="292"/>
                      <a:pt x="3" y="295"/>
                      <a:pt x="3" y="295"/>
                    </a:cubicBezTo>
                    <a:cubicBezTo>
                      <a:pt x="0" y="302"/>
                      <a:pt x="17" y="299"/>
                      <a:pt x="17" y="299"/>
                    </a:cubicBezTo>
                    <a:cubicBezTo>
                      <a:pt x="21" y="304"/>
                      <a:pt x="14" y="311"/>
                      <a:pt x="14" y="311"/>
                    </a:cubicBezTo>
                    <a:cubicBezTo>
                      <a:pt x="11" y="328"/>
                      <a:pt x="17" y="335"/>
                      <a:pt x="17" y="335"/>
                    </a:cubicBezTo>
                    <a:cubicBezTo>
                      <a:pt x="17" y="335"/>
                      <a:pt x="17" y="335"/>
                      <a:pt x="17" y="335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32" y="351"/>
                      <a:pt x="32" y="351"/>
                    </a:cubicBezTo>
                    <a:cubicBezTo>
                      <a:pt x="32" y="351"/>
                      <a:pt x="47" y="337"/>
                      <a:pt x="45" y="329"/>
                    </a:cubicBezTo>
                    <a:cubicBezTo>
                      <a:pt x="47" y="313"/>
                      <a:pt x="59" y="332"/>
                      <a:pt x="69" y="326"/>
                    </a:cubicBezTo>
                    <a:cubicBezTo>
                      <a:pt x="69" y="326"/>
                      <a:pt x="86" y="326"/>
                      <a:pt x="93" y="318"/>
                    </a:cubicBezTo>
                    <a:cubicBezTo>
                      <a:pt x="93" y="318"/>
                      <a:pt x="99" y="309"/>
                      <a:pt x="108" y="311"/>
                    </a:cubicBezTo>
                    <a:cubicBezTo>
                      <a:pt x="108" y="311"/>
                      <a:pt x="119" y="308"/>
                      <a:pt x="127" y="316"/>
                    </a:cubicBezTo>
                    <a:cubicBezTo>
                      <a:pt x="137" y="306"/>
                      <a:pt x="131" y="329"/>
                      <a:pt x="137" y="330"/>
                    </a:cubicBezTo>
                    <a:cubicBezTo>
                      <a:pt x="142" y="330"/>
                      <a:pt x="146" y="326"/>
                      <a:pt x="146" y="326"/>
                    </a:cubicBezTo>
                    <a:cubicBezTo>
                      <a:pt x="153" y="309"/>
                      <a:pt x="158" y="318"/>
                      <a:pt x="158" y="318"/>
                    </a:cubicBezTo>
                    <a:cubicBezTo>
                      <a:pt x="166" y="320"/>
                      <a:pt x="176" y="306"/>
                      <a:pt x="176" y="306"/>
                    </a:cubicBezTo>
                    <a:cubicBezTo>
                      <a:pt x="193" y="295"/>
                      <a:pt x="195" y="285"/>
                      <a:pt x="195" y="285"/>
                    </a:cubicBezTo>
                    <a:cubicBezTo>
                      <a:pt x="205" y="270"/>
                      <a:pt x="216" y="272"/>
                      <a:pt x="216" y="272"/>
                    </a:cubicBezTo>
                    <a:cubicBezTo>
                      <a:pt x="226" y="273"/>
                      <a:pt x="230" y="266"/>
                      <a:pt x="230" y="266"/>
                    </a:cubicBezTo>
                    <a:cubicBezTo>
                      <a:pt x="238" y="257"/>
                      <a:pt x="241" y="271"/>
                      <a:pt x="251" y="268"/>
                    </a:cubicBezTo>
                    <a:cubicBezTo>
                      <a:pt x="258" y="267"/>
                      <a:pt x="253" y="260"/>
                      <a:pt x="253" y="260"/>
                    </a:cubicBezTo>
                    <a:cubicBezTo>
                      <a:pt x="245" y="249"/>
                      <a:pt x="256" y="245"/>
                      <a:pt x="256" y="245"/>
                    </a:cubicBezTo>
                    <a:cubicBezTo>
                      <a:pt x="262" y="233"/>
                      <a:pt x="256" y="227"/>
                      <a:pt x="256" y="227"/>
                    </a:cubicBezTo>
                    <a:cubicBezTo>
                      <a:pt x="252" y="219"/>
                      <a:pt x="260" y="218"/>
                      <a:pt x="256" y="207"/>
                    </a:cubicBezTo>
                    <a:cubicBezTo>
                      <a:pt x="258" y="193"/>
                      <a:pt x="249" y="183"/>
                      <a:pt x="259" y="181"/>
                    </a:cubicBezTo>
                    <a:cubicBezTo>
                      <a:pt x="268" y="179"/>
                      <a:pt x="272" y="168"/>
                      <a:pt x="272" y="168"/>
                    </a:cubicBezTo>
                    <a:cubicBezTo>
                      <a:pt x="272" y="168"/>
                      <a:pt x="272" y="168"/>
                      <a:pt x="272" y="168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0" y="151"/>
                      <a:pt x="280" y="151"/>
                      <a:pt x="280" y="151"/>
                    </a:cubicBezTo>
                    <a:cubicBezTo>
                      <a:pt x="289" y="151"/>
                      <a:pt x="286" y="132"/>
                      <a:pt x="286" y="132"/>
                    </a:cubicBezTo>
                    <a:cubicBezTo>
                      <a:pt x="298" y="125"/>
                      <a:pt x="290" y="122"/>
                      <a:pt x="290" y="122"/>
                    </a:cubicBezTo>
                    <a:cubicBezTo>
                      <a:pt x="285" y="111"/>
                      <a:pt x="292" y="107"/>
                      <a:pt x="292" y="107"/>
                    </a:cubicBezTo>
                    <a:cubicBezTo>
                      <a:pt x="293" y="114"/>
                      <a:pt x="292" y="116"/>
                      <a:pt x="302" y="119"/>
                    </a:cubicBezTo>
                    <a:cubicBezTo>
                      <a:pt x="299" y="108"/>
                      <a:pt x="306" y="101"/>
                      <a:pt x="306" y="101"/>
                    </a:cubicBezTo>
                    <a:cubicBezTo>
                      <a:pt x="311" y="93"/>
                      <a:pt x="317" y="98"/>
                      <a:pt x="317" y="98"/>
                    </a:cubicBezTo>
                    <a:cubicBezTo>
                      <a:pt x="314" y="91"/>
                      <a:pt x="322" y="85"/>
                      <a:pt x="322" y="85"/>
                    </a:cubicBezTo>
                    <a:cubicBezTo>
                      <a:pt x="323" y="69"/>
                      <a:pt x="292" y="68"/>
                      <a:pt x="292" y="76"/>
                    </a:cubicBezTo>
                    <a:cubicBezTo>
                      <a:pt x="266" y="79"/>
                      <a:pt x="270" y="70"/>
                      <a:pt x="270" y="70"/>
                    </a:cubicBezTo>
                    <a:cubicBezTo>
                      <a:pt x="278" y="63"/>
                      <a:pt x="266" y="63"/>
                      <a:pt x="266" y="63"/>
                    </a:cubicBezTo>
                    <a:cubicBezTo>
                      <a:pt x="259" y="59"/>
                      <a:pt x="263" y="52"/>
                      <a:pt x="263" y="52"/>
                    </a:cubicBezTo>
                    <a:cubicBezTo>
                      <a:pt x="265" y="45"/>
                      <a:pt x="253" y="45"/>
                      <a:pt x="253" y="45"/>
                    </a:cubicBezTo>
                    <a:cubicBezTo>
                      <a:pt x="253" y="45"/>
                      <a:pt x="253" y="45"/>
                      <a:pt x="253" y="45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34" y="46"/>
                      <a:pt x="234" y="46"/>
                      <a:pt x="234" y="46"/>
                    </a:cubicBezTo>
                    <a:cubicBezTo>
                      <a:pt x="220" y="44"/>
                      <a:pt x="216" y="31"/>
                      <a:pt x="191" y="32"/>
                    </a:cubicBezTo>
                    <a:cubicBezTo>
                      <a:pt x="179" y="33"/>
                      <a:pt x="181" y="28"/>
                      <a:pt x="181" y="28"/>
                    </a:cubicBezTo>
                    <a:cubicBezTo>
                      <a:pt x="179" y="20"/>
                      <a:pt x="162" y="21"/>
                      <a:pt x="162" y="21"/>
                    </a:cubicBezTo>
                    <a:cubicBezTo>
                      <a:pt x="148" y="24"/>
                      <a:pt x="148" y="17"/>
                      <a:pt x="148" y="17"/>
                    </a:cubicBezTo>
                    <a:cubicBezTo>
                      <a:pt x="145" y="7"/>
                      <a:pt x="128" y="10"/>
                      <a:pt x="128" y="10"/>
                    </a:cubicBezTo>
                    <a:cubicBezTo>
                      <a:pt x="111" y="10"/>
                      <a:pt x="113" y="0"/>
                      <a:pt x="105" y="5"/>
                    </a:cubicBezTo>
                    <a:cubicBezTo>
                      <a:pt x="95" y="6"/>
                      <a:pt x="87" y="4"/>
                      <a:pt x="80" y="4"/>
                    </a:cubicBezTo>
                    <a:cubicBezTo>
                      <a:pt x="80" y="4"/>
                      <a:pt x="80" y="4"/>
                      <a:pt x="80" y="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099" name="Freeform 53"/>
              <p:cNvSpPr>
                <a:spLocks/>
              </p:cNvSpPr>
              <p:nvPr/>
            </p:nvSpPr>
            <p:spPr bwMode="auto">
              <a:xfrm>
                <a:off x="1718521" y="2966144"/>
                <a:ext cx="596732" cy="974659"/>
              </a:xfrm>
              <a:custGeom>
                <a:avLst/>
                <a:gdLst>
                  <a:gd name="T0" fmla="*/ 2147483647 w 211"/>
                  <a:gd name="T1" fmla="*/ 2147483647 h 390"/>
                  <a:gd name="T2" fmla="*/ 2147483647 w 211"/>
                  <a:gd name="T3" fmla="*/ 2147483647 h 390"/>
                  <a:gd name="T4" fmla="*/ 2147483647 w 211"/>
                  <a:gd name="T5" fmla="*/ 2147483647 h 390"/>
                  <a:gd name="T6" fmla="*/ 2147483647 w 211"/>
                  <a:gd name="T7" fmla="*/ 2147483647 h 390"/>
                  <a:gd name="T8" fmla="*/ 2147483647 w 211"/>
                  <a:gd name="T9" fmla="*/ 2147483647 h 390"/>
                  <a:gd name="T10" fmla="*/ 2147483647 w 211"/>
                  <a:gd name="T11" fmla="*/ 2147483647 h 390"/>
                  <a:gd name="T12" fmla="*/ 2147483647 w 211"/>
                  <a:gd name="T13" fmla="*/ 2147483647 h 390"/>
                  <a:gd name="T14" fmla="*/ 2147483647 w 211"/>
                  <a:gd name="T15" fmla="*/ 2147483647 h 390"/>
                  <a:gd name="T16" fmla="*/ 2147483647 w 211"/>
                  <a:gd name="T17" fmla="*/ 2147483647 h 390"/>
                  <a:gd name="T18" fmla="*/ 2147483647 w 211"/>
                  <a:gd name="T19" fmla="*/ 2147483647 h 390"/>
                  <a:gd name="T20" fmla="*/ 2147483647 w 211"/>
                  <a:gd name="T21" fmla="*/ 2147483647 h 390"/>
                  <a:gd name="T22" fmla="*/ 2147483647 w 211"/>
                  <a:gd name="T23" fmla="*/ 2147483647 h 390"/>
                  <a:gd name="T24" fmla="*/ 2147483647 w 211"/>
                  <a:gd name="T25" fmla="*/ 2147483647 h 390"/>
                  <a:gd name="T26" fmla="*/ 2147483647 w 211"/>
                  <a:gd name="T27" fmla="*/ 2147483647 h 390"/>
                  <a:gd name="T28" fmla="*/ 2147483647 w 211"/>
                  <a:gd name="T29" fmla="*/ 2147483647 h 390"/>
                  <a:gd name="T30" fmla="*/ 2147483647 w 211"/>
                  <a:gd name="T31" fmla="*/ 2147483647 h 390"/>
                  <a:gd name="T32" fmla="*/ 2147483647 w 211"/>
                  <a:gd name="T33" fmla="*/ 2147483647 h 390"/>
                  <a:gd name="T34" fmla="*/ 2147483647 w 211"/>
                  <a:gd name="T35" fmla="*/ 2147483647 h 390"/>
                  <a:gd name="T36" fmla="*/ 2147483647 w 211"/>
                  <a:gd name="T37" fmla="*/ 2147483647 h 390"/>
                  <a:gd name="T38" fmla="*/ 2147483647 w 211"/>
                  <a:gd name="T39" fmla="*/ 2147483647 h 390"/>
                  <a:gd name="T40" fmla="*/ 2147483647 w 211"/>
                  <a:gd name="T41" fmla="*/ 2147483647 h 390"/>
                  <a:gd name="T42" fmla="*/ 2147483647 w 211"/>
                  <a:gd name="T43" fmla="*/ 2147483647 h 390"/>
                  <a:gd name="T44" fmla="*/ 2147483647 w 211"/>
                  <a:gd name="T45" fmla="*/ 2147483647 h 390"/>
                  <a:gd name="T46" fmla="*/ 2147483647 w 211"/>
                  <a:gd name="T47" fmla="*/ 2147483647 h 390"/>
                  <a:gd name="T48" fmla="*/ 2147483647 w 211"/>
                  <a:gd name="T49" fmla="*/ 2147483647 h 390"/>
                  <a:gd name="T50" fmla="*/ 2147483647 w 211"/>
                  <a:gd name="T51" fmla="*/ 2147483647 h 390"/>
                  <a:gd name="T52" fmla="*/ 2147483647 w 211"/>
                  <a:gd name="T53" fmla="*/ 2147483647 h 390"/>
                  <a:gd name="T54" fmla="*/ 2147483647 w 211"/>
                  <a:gd name="T55" fmla="*/ 2147483647 h 390"/>
                  <a:gd name="T56" fmla="*/ 2147483647 w 211"/>
                  <a:gd name="T57" fmla="*/ 2147483647 h 390"/>
                  <a:gd name="T58" fmla="*/ 2147483647 w 211"/>
                  <a:gd name="T59" fmla="*/ 2147483647 h 390"/>
                  <a:gd name="T60" fmla="*/ 2147483647 w 211"/>
                  <a:gd name="T61" fmla="*/ 2147483647 h 390"/>
                  <a:gd name="T62" fmla="*/ 2147483647 w 211"/>
                  <a:gd name="T63" fmla="*/ 2147483647 h 390"/>
                  <a:gd name="T64" fmla="*/ 2147483647 w 211"/>
                  <a:gd name="T65" fmla="*/ 2147483647 h 390"/>
                  <a:gd name="T66" fmla="*/ 2147483647 w 211"/>
                  <a:gd name="T67" fmla="*/ 2147483647 h 390"/>
                  <a:gd name="T68" fmla="*/ 2147483647 w 211"/>
                  <a:gd name="T69" fmla="*/ 2147483647 h 390"/>
                  <a:gd name="T70" fmla="*/ 2147483647 w 211"/>
                  <a:gd name="T71" fmla="*/ 2147483647 h 390"/>
                  <a:gd name="T72" fmla="*/ 2147483647 w 211"/>
                  <a:gd name="T73" fmla="*/ 2147483647 h 390"/>
                  <a:gd name="T74" fmla="*/ 2147483647 w 211"/>
                  <a:gd name="T75" fmla="*/ 2147483647 h 390"/>
                  <a:gd name="T76" fmla="*/ 2147483647 w 211"/>
                  <a:gd name="T77" fmla="*/ 2147483647 h 390"/>
                  <a:gd name="T78" fmla="*/ 2147483647 w 211"/>
                  <a:gd name="T79" fmla="*/ 2147483647 h 390"/>
                  <a:gd name="T80" fmla="*/ 2147483647 w 211"/>
                  <a:gd name="T81" fmla="*/ 2147483647 h 390"/>
                  <a:gd name="T82" fmla="*/ 2147483647 w 211"/>
                  <a:gd name="T83" fmla="*/ 2147483647 h 390"/>
                  <a:gd name="T84" fmla="*/ 2147483647 w 211"/>
                  <a:gd name="T85" fmla="*/ 2147483647 h 390"/>
                  <a:gd name="T86" fmla="*/ 2147483647 w 211"/>
                  <a:gd name="T87" fmla="*/ 2147483647 h 390"/>
                  <a:gd name="T88" fmla="*/ 2147483647 w 211"/>
                  <a:gd name="T89" fmla="*/ 2147483647 h 390"/>
                  <a:gd name="T90" fmla="*/ 2147483647 w 211"/>
                  <a:gd name="T91" fmla="*/ 2147483647 h 390"/>
                  <a:gd name="T92" fmla="*/ 2147483647 w 211"/>
                  <a:gd name="T93" fmla="*/ 2147483647 h 390"/>
                  <a:gd name="T94" fmla="*/ 2147483647 w 211"/>
                  <a:gd name="T95" fmla="*/ 2147483647 h 39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11"/>
                  <a:gd name="T145" fmla="*/ 0 h 390"/>
                  <a:gd name="T146" fmla="*/ 211 w 211"/>
                  <a:gd name="T147" fmla="*/ 390 h 39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11" h="390">
                    <a:moveTo>
                      <a:pt x="138" y="12"/>
                    </a:moveTo>
                    <a:cubicBezTo>
                      <a:pt x="138" y="21"/>
                      <a:pt x="149" y="19"/>
                      <a:pt x="142" y="32"/>
                    </a:cubicBezTo>
                    <a:cubicBezTo>
                      <a:pt x="142" y="32"/>
                      <a:pt x="134" y="38"/>
                      <a:pt x="146" y="45"/>
                    </a:cubicBezTo>
                    <a:cubicBezTo>
                      <a:pt x="156" y="55"/>
                      <a:pt x="156" y="63"/>
                      <a:pt x="161" y="63"/>
                    </a:cubicBezTo>
                    <a:cubicBezTo>
                      <a:pt x="161" y="63"/>
                      <a:pt x="171" y="78"/>
                      <a:pt x="178" y="68"/>
                    </a:cubicBezTo>
                    <a:cubicBezTo>
                      <a:pt x="178" y="68"/>
                      <a:pt x="182" y="72"/>
                      <a:pt x="182" y="91"/>
                    </a:cubicBezTo>
                    <a:cubicBezTo>
                      <a:pt x="175" y="102"/>
                      <a:pt x="190" y="105"/>
                      <a:pt x="178" y="111"/>
                    </a:cubicBezTo>
                    <a:cubicBezTo>
                      <a:pt x="178" y="111"/>
                      <a:pt x="168" y="110"/>
                      <a:pt x="171" y="128"/>
                    </a:cubicBezTo>
                    <a:cubicBezTo>
                      <a:pt x="171" y="128"/>
                      <a:pt x="171" y="138"/>
                      <a:pt x="183" y="149"/>
                    </a:cubicBezTo>
                    <a:cubicBezTo>
                      <a:pt x="183" y="149"/>
                      <a:pt x="199" y="149"/>
                      <a:pt x="204" y="155"/>
                    </a:cubicBezTo>
                    <a:cubicBezTo>
                      <a:pt x="211" y="162"/>
                      <a:pt x="199" y="166"/>
                      <a:pt x="199" y="166"/>
                    </a:cubicBezTo>
                    <a:cubicBezTo>
                      <a:pt x="188" y="169"/>
                      <a:pt x="199" y="179"/>
                      <a:pt x="199" y="179"/>
                    </a:cubicBezTo>
                    <a:cubicBezTo>
                      <a:pt x="201" y="186"/>
                      <a:pt x="195" y="191"/>
                      <a:pt x="195" y="191"/>
                    </a:cubicBezTo>
                    <a:cubicBezTo>
                      <a:pt x="182" y="204"/>
                      <a:pt x="196" y="217"/>
                      <a:pt x="196" y="217"/>
                    </a:cubicBezTo>
                    <a:cubicBezTo>
                      <a:pt x="205" y="230"/>
                      <a:pt x="203" y="251"/>
                      <a:pt x="203" y="251"/>
                    </a:cubicBezTo>
                    <a:cubicBezTo>
                      <a:pt x="210" y="282"/>
                      <a:pt x="182" y="268"/>
                      <a:pt x="182" y="268"/>
                    </a:cubicBezTo>
                    <a:cubicBezTo>
                      <a:pt x="176" y="259"/>
                      <a:pt x="153" y="267"/>
                      <a:pt x="153" y="274"/>
                    </a:cubicBezTo>
                    <a:cubicBezTo>
                      <a:pt x="156" y="279"/>
                      <a:pt x="141" y="285"/>
                      <a:pt x="142" y="302"/>
                    </a:cubicBezTo>
                    <a:cubicBezTo>
                      <a:pt x="149" y="343"/>
                      <a:pt x="140" y="358"/>
                      <a:pt x="140" y="358"/>
                    </a:cubicBezTo>
                    <a:cubicBezTo>
                      <a:pt x="134" y="364"/>
                      <a:pt x="125" y="360"/>
                      <a:pt x="125" y="360"/>
                    </a:cubicBezTo>
                    <a:cubicBezTo>
                      <a:pt x="112" y="370"/>
                      <a:pt x="98" y="368"/>
                      <a:pt x="98" y="368"/>
                    </a:cubicBezTo>
                    <a:cubicBezTo>
                      <a:pt x="93" y="361"/>
                      <a:pt x="83" y="367"/>
                      <a:pt x="83" y="367"/>
                    </a:cubicBezTo>
                    <a:cubicBezTo>
                      <a:pt x="73" y="375"/>
                      <a:pt x="70" y="361"/>
                      <a:pt x="70" y="361"/>
                    </a:cubicBezTo>
                    <a:cubicBezTo>
                      <a:pt x="57" y="361"/>
                      <a:pt x="48" y="366"/>
                      <a:pt x="48" y="366"/>
                    </a:cubicBezTo>
                    <a:cubicBezTo>
                      <a:pt x="56" y="374"/>
                      <a:pt x="48" y="381"/>
                      <a:pt x="48" y="381"/>
                    </a:cubicBezTo>
                    <a:cubicBezTo>
                      <a:pt x="36" y="390"/>
                      <a:pt x="32" y="369"/>
                      <a:pt x="32" y="369"/>
                    </a:cubicBezTo>
                    <a:cubicBezTo>
                      <a:pt x="32" y="369"/>
                      <a:pt x="32" y="369"/>
                      <a:pt x="32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5" y="369"/>
                      <a:pt x="15" y="369"/>
                      <a:pt x="15" y="369"/>
                    </a:cubicBezTo>
                    <a:cubicBezTo>
                      <a:pt x="17" y="358"/>
                      <a:pt x="10" y="352"/>
                      <a:pt x="10" y="352"/>
                    </a:cubicBezTo>
                    <a:cubicBezTo>
                      <a:pt x="1" y="343"/>
                      <a:pt x="4" y="315"/>
                      <a:pt x="4" y="315"/>
                    </a:cubicBezTo>
                    <a:cubicBezTo>
                      <a:pt x="0" y="298"/>
                      <a:pt x="4" y="272"/>
                      <a:pt x="4" y="272"/>
                    </a:cubicBezTo>
                    <a:cubicBezTo>
                      <a:pt x="10" y="265"/>
                      <a:pt x="1" y="250"/>
                      <a:pt x="8" y="237"/>
                    </a:cubicBezTo>
                    <a:cubicBezTo>
                      <a:pt x="14" y="219"/>
                      <a:pt x="6" y="202"/>
                      <a:pt x="6" y="202"/>
                    </a:cubicBezTo>
                    <a:cubicBezTo>
                      <a:pt x="1" y="188"/>
                      <a:pt x="7" y="183"/>
                      <a:pt x="7" y="183"/>
                    </a:cubicBezTo>
                    <a:cubicBezTo>
                      <a:pt x="7" y="183"/>
                      <a:pt x="13" y="177"/>
                      <a:pt x="13" y="160"/>
                    </a:cubicBezTo>
                    <a:cubicBezTo>
                      <a:pt x="10" y="158"/>
                      <a:pt x="14" y="149"/>
                      <a:pt x="14" y="149"/>
                    </a:cubicBezTo>
                    <a:cubicBezTo>
                      <a:pt x="19" y="142"/>
                      <a:pt x="13" y="138"/>
                      <a:pt x="13" y="138"/>
                    </a:cubicBezTo>
                    <a:cubicBezTo>
                      <a:pt x="3" y="114"/>
                      <a:pt x="17" y="104"/>
                      <a:pt x="17" y="104"/>
                    </a:cubicBezTo>
                    <a:cubicBezTo>
                      <a:pt x="17" y="81"/>
                      <a:pt x="25" y="91"/>
                      <a:pt x="24" y="73"/>
                    </a:cubicBezTo>
                    <a:cubicBezTo>
                      <a:pt x="29" y="73"/>
                      <a:pt x="32" y="69"/>
                      <a:pt x="32" y="69"/>
                    </a:cubicBezTo>
                    <a:cubicBezTo>
                      <a:pt x="39" y="52"/>
                      <a:pt x="44" y="61"/>
                      <a:pt x="44" y="61"/>
                    </a:cubicBezTo>
                    <a:cubicBezTo>
                      <a:pt x="52" y="63"/>
                      <a:pt x="62" y="49"/>
                      <a:pt x="62" y="49"/>
                    </a:cubicBezTo>
                    <a:cubicBezTo>
                      <a:pt x="79" y="38"/>
                      <a:pt x="81" y="28"/>
                      <a:pt x="81" y="28"/>
                    </a:cubicBezTo>
                    <a:cubicBezTo>
                      <a:pt x="91" y="13"/>
                      <a:pt x="102" y="15"/>
                      <a:pt x="102" y="15"/>
                    </a:cubicBezTo>
                    <a:cubicBezTo>
                      <a:pt x="112" y="16"/>
                      <a:pt x="116" y="9"/>
                      <a:pt x="116" y="9"/>
                    </a:cubicBezTo>
                    <a:cubicBezTo>
                      <a:pt x="124" y="0"/>
                      <a:pt x="129" y="14"/>
                      <a:pt x="138" y="12"/>
                    </a:cubicBezTo>
                    <a:cubicBezTo>
                      <a:pt x="138" y="12"/>
                      <a:pt x="138" y="12"/>
                      <a:pt x="138" y="1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0" name="Freeform 52"/>
              <p:cNvSpPr>
                <a:spLocks/>
              </p:cNvSpPr>
              <p:nvPr/>
            </p:nvSpPr>
            <p:spPr bwMode="auto">
              <a:xfrm>
                <a:off x="1242731" y="3798198"/>
                <a:ext cx="922342" cy="414849"/>
              </a:xfrm>
              <a:custGeom>
                <a:avLst/>
                <a:gdLst>
                  <a:gd name="T0" fmla="*/ 2147483647 w 326"/>
                  <a:gd name="T1" fmla="*/ 2147483647 h 166"/>
                  <a:gd name="T2" fmla="*/ 2147483647 w 326"/>
                  <a:gd name="T3" fmla="*/ 2147483647 h 166"/>
                  <a:gd name="T4" fmla="*/ 2147483647 w 326"/>
                  <a:gd name="T5" fmla="*/ 2147483647 h 166"/>
                  <a:gd name="T6" fmla="*/ 2147483647 w 326"/>
                  <a:gd name="T7" fmla="*/ 2147483647 h 166"/>
                  <a:gd name="T8" fmla="*/ 2147483647 w 326"/>
                  <a:gd name="T9" fmla="*/ 2147483647 h 166"/>
                  <a:gd name="T10" fmla="*/ 2147483647 w 326"/>
                  <a:gd name="T11" fmla="*/ 2147483647 h 166"/>
                  <a:gd name="T12" fmla="*/ 2147483647 w 326"/>
                  <a:gd name="T13" fmla="*/ 2147483647 h 166"/>
                  <a:gd name="T14" fmla="*/ 2147483647 w 326"/>
                  <a:gd name="T15" fmla="*/ 2147483647 h 166"/>
                  <a:gd name="T16" fmla="*/ 2147483647 w 326"/>
                  <a:gd name="T17" fmla="*/ 2147483647 h 166"/>
                  <a:gd name="T18" fmla="*/ 2147483647 w 326"/>
                  <a:gd name="T19" fmla="*/ 2147483647 h 166"/>
                  <a:gd name="T20" fmla="*/ 2147483647 w 326"/>
                  <a:gd name="T21" fmla="*/ 2147483647 h 166"/>
                  <a:gd name="T22" fmla="*/ 2147483647 w 326"/>
                  <a:gd name="T23" fmla="*/ 2147483647 h 166"/>
                  <a:gd name="T24" fmla="*/ 2147483647 w 326"/>
                  <a:gd name="T25" fmla="*/ 2147483647 h 166"/>
                  <a:gd name="T26" fmla="*/ 2147483647 w 326"/>
                  <a:gd name="T27" fmla="*/ 2147483647 h 166"/>
                  <a:gd name="T28" fmla="*/ 2147483647 w 326"/>
                  <a:gd name="T29" fmla="*/ 2147483647 h 166"/>
                  <a:gd name="T30" fmla="*/ 2147483647 w 326"/>
                  <a:gd name="T31" fmla="*/ 2147483647 h 166"/>
                  <a:gd name="T32" fmla="*/ 2147483647 w 326"/>
                  <a:gd name="T33" fmla="*/ 2147483647 h 166"/>
                  <a:gd name="T34" fmla="*/ 0 w 326"/>
                  <a:gd name="T35" fmla="*/ 2147483647 h 166"/>
                  <a:gd name="T36" fmla="*/ 2147483647 w 326"/>
                  <a:gd name="T37" fmla="*/ 2147483647 h 166"/>
                  <a:gd name="T38" fmla="*/ 2147483647 w 326"/>
                  <a:gd name="T39" fmla="*/ 2147483647 h 166"/>
                  <a:gd name="T40" fmla="*/ 2147483647 w 326"/>
                  <a:gd name="T41" fmla="*/ 2147483647 h 166"/>
                  <a:gd name="T42" fmla="*/ 2147483647 w 326"/>
                  <a:gd name="T43" fmla="*/ 2147483647 h 166"/>
                  <a:gd name="T44" fmla="*/ 2147483647 w 326"/>
                  <a:gd name="T45" fmla="*/ 2147483647 h 166"/>
                  <a:gd name="T46" fmla="*/ 2147483647 w 326"/>
                  <a:gd name="T47" fmla="*/ 2147483647 h 166"/>
                  <a:gd name="T48" fmla="*/ 2147483647 w 326"/>
                  <a:gd name="T49" fmla="*/ 2147483647 h 166"/>
                  <a:gd name="T50" fmla="*/ 2147483647 w 326"/>
                  <a:gd name="T51" fmla="*/ 2147483647 h 166"/>
                  <a:gd name="T52" fmla="*/ 2147483647 w 326"/>
                  <a:gd name="T53" fmla="*/ 2147483647 h 166"/>
                  <a:gd name="T54" fmla="*/ 2147483647 w 326"/>
                  <a:gd name="T55" fmla="*/ 2147483647 h 166"/>
                  <a:gd name="T56" fmla="*/ 2147483647 w 326"/>
                  <a:gd name="T57" fmla="*/ 2147483647 h 166"/>
                  <a:gd name="T58" fmla="*/ 2147483647 w 326"/>
                  <a:gd name="T59" fmla="*/ 2147483647 h 166"/>
                  <a:gd name="T60" fmla="*/ 2147483647 w 326"/>
                  <a:gd name="T61" fmla="*/ 2147483647 h 166"/>
                  <a:gd name="T62" fmla="*/ 2147483647 w 326"/>
                  <a:gd name="T63" fmla="*/ 2147483647 h 166"/>
                  <a:gd name="T64" fmla="*/ 2147483647 w 326"/>
                  <a:gd name="T65" fmla="*/ 2147483647 h 166"/>
                  <a:gd name="T66" fmla="*/ 2147483647 w 326"/>
                  <a:gd name="T67" fmla="*/ 2147483647 h 166"/>
                  <a:gd name="T68" fmla="*/ 2147483647 w 326"/>
                  <a:gd name="T69" fmla="*/ 2147483647 h 166"/>
                  <a:gd name="T70" fmla="*/ 2147483647 w 326"/>
                  <a:gd name="T71" fmla="*/ 2147483647 h 166"/>
                  <a:gd name="T72" fmla="*/ 2147483647 w 326"/>
                  <a:gd name="T73" fmla="*/ 2147483647 h 166"/>
                  <a:gd name="T74" fmla="*/ 2147483647 w 326"/>
                  <a:gd name="T75" fmla="*/ 2147483647 h 166"/>
                  <a:gd name="T76" fmla="*/ 2147483647 w 326"/>
                  <a:gd name="T77" fmla="*/ 2147483647 h 166"/>
                  <a:gd name="T78" fmla="*/ 2147483647 w 326"/>
                  <a:gd name="T79" fmla="*/ 2147483647 h 166"/>
                  <a:gd name="T80" fmla="*/ 2147483647 w 326"/>
                  <a:gd name="T81" fmla="*/ 2147483647 h 166"/>
                  <a:gd name="T82" fmla="*/ 2147483647 w 326"/>
                  <a:gd name="T83" fmla="*/ 2147483647 h 166"/>
                  <a:gd name="T84" fmla="*/ 2147483647 w 326"/>
                  <a:gd name="T85" fmla="*/ 2147483647 h 166"/>
                  <a:gd name="T86" fmla="*/ 2147483647 w 326"/>
                  <a:gd name="T87" fmla="*/ 2147483647 h 16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6"/>
                  <a:gd name="T133" fmla="*/ 0 h 166"/>
                  <a:gd name="T134" fmla="*/ 326 w 326"/>
                  <a:gd name="T135" fmla="*/ 166 h 16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6" h="166">
                    <a:moveTo>
                      <a:pt x="307" y="25"/>
                    </a:moveTo>
                    <a:cubicBezTo>
                      <a:pt x="307" y="25"/>
                      <a:pt x="321" y="19"/>
                      <a:pt x="319" y="40"/>
                    </a:cubicBezTo>
                    <a:cubicBezTo>
                      <a:pt x="319" y="40"/>
                      <a:pt x="326" y="48"/>
                      <a:pt x="313" y="62"/>
                    </a:cubicBezTo>
                    <a:cubicBezTo>
                      <a:pt x="313" y="62"/>
                      <a:pt x="310" y="51"/>
                      <a:pt x="295" y="60"/>
                    </a:cubicBezTo>
                    <a:cubicBezTo>
                      <a:pt x="295" y="60"/>
                      <a:pt x="289" y="74"/>
                      <a:pt x="277" y="64"/>
                    </a:cubicBezTo>
                    <a:cubicBezTo>
                      <a:pt x="266" y="54"/>
                      <a:pt x="255" y="73"/>
                      <a:pt x="251" y="65"/>
                    </a:cubicBezTo>
                    <a:cubicBezTo>
                      <a:pt x="251" y="65"/>
                      <a:pt x="236" y="56"/>
                      <a:pt x="236" y="69"/>
                    </a:cubicBezTo>
                    <a:cubicBezTo>
                      <a:pt x="236" y="69"/>
                      <a:pt x="233" y="80"/>
                      <a:pt x="227" y="76"/>
                    </a:cubicBezTo>
                    <a:cubicBezTo>
                      <a:pt x="227" y="76"/>
                      <a:pt x="225" y="64"/>
                      <a:pt x="216" y="85"/>
                    </a:cubicBezTo>
                    <a:cubicBezTo>
                      <a:pt x="216" y="85"/>
                      <a:pt x="217" y="81"/>
                      <a:pt x="209" y="87"/>
                    </a:cubicBezTo>
                    <a:cubicBezTo>
                      <a:pt x="209" y="87"/>
                      <a:pt x="194" y="87"/>
                      <a:pt x="179" y="94"/>
                    </a:cubicBezTo>
                    <a:cubicBezTo>
                      <a:pt x="179" y="94"/>
                      <a:pt x="178" y="102"/>
                      <a:pt x="170" y="113"/>
                    </a:cubicBezTo>
                    <a:cubicBezTo>
                      <a:pt x="157" y="133"/>
                      <a:pt x="156" y="128"/>
                      <a:pt x="131" y="130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6" y="134"/>
                      <a:pt x="46" y="124"/>
                      <a:pt x="35" y="150"/>
                    </a:cubicBezTo>
                    <a:cubicBezTo>
                      <a:pt x="35" y="150"/>
                      <a:pt x="27" y="164"/>
                      <a:pt x="0" y="166"/>
                    </a:cubicBezTo>
                    <a:cubicBezTo>
                      <a:pt x="14" y="146"/>
                      <a:pt x="5" y="137"/>
                      <a:pt x="5" y="137"/>
                    </a:cubicBezTo>
                    <a:cubicBezTo>
                      <a:pt x="0" y="117"/>
                      <a:pt x="13" y="99"/>
                      <a:pt x="13" y="99"/>
                    </a:cubicBezTo>
                    <a:cubicBezTo>
                      <a:pt x="29" y="95"/>
                      <a:pt x="34" y="80"/>
                      <a:pt x="34" y="80"/>
                    </a:cubicBezTo>
                    <a:cubicBezTo>
                      <a:pt x="38" y="82"/>
                      <a:pt x="41" y="75"/>
                      <a:pt x="41" y="75"/>
                    </a:cubicBezTo>
                    <a:cubicBezTo>
                      <a:pt x="60" y="48"/>
                      <a:pt x="77" y="52"/>
                      <a:pt x="77" y="52"/>
                    </a:cubicBezTo>
                    <a:cubicBezTo>
                      <a:pt x="95" y="55"/>
                      <a:pt x="93" y="40"/>
                      <a:pt x="93" y="40"/>
                    </a:cubicBezTo>
                    <a:cubicBezTo>
                      <a:pt x="97" y="29"/>
                      <a:pt x="93" y="24"/>
                      <a:pt x="93" y="24"/>
                    </a:cubicBezTo>
                    <a:cubicBezTo>
                      <a:pt x="86" y="7"/>
                      <a:pt x="98" y="3"/>
                      <a:pt x="98" y="3"/>
                    </a:cubicBezTo>
                    <a:cubicBezTo>
                      <a:pt x="98" y="3"/>
                      <a:pt x="107" y="2"/>
                      <a:pt x="107" y="8"/>
                    </a:cubicBezTo>
                    <a:cubicBezTo>
                      <a:pt x="107" y="8"/>
                      <a:pt x="110" y="18"/>
                      <a:pt x="117" y="10"/>
                    </a:cubicBezTo>
                    <a:cubicBezTo>
                      <a:pt x="117" y="10"/>
                      <a:pt x="125" y="0"/>
                      <a:pt x="129" y="18"/>
                    </a:cubicBezTo>
                    <a:cubicBezTo>
                      <a:pt x="129" y="18"/>
                      <a:pt x="123" y="35"/>
                      <a:pt x="137" y="20"/>
                    </a:cubicBezTo>
                    <a:cubicBezTo>
                      <a:pt x="137" y="20"/>
                      <a:pt x="151" y="7"/>
                      <a:pt x="154" y="25"/>
                    </a:cubicBezTo>
                    <a:cubicBezTo>
                      <a:pt x="154" y="25"/>
                      <a:pt x="158" y="36"/>
                      <a:pt x="168" y="34"/>
                    </a:cubicBezTo>
                    <a:cubicBezTo>
                      <a:pt x="168" y="34"/>
                      <a:pt x="177" y="32"/>
                      <a:pt x="183" y="36"/>
                    </a:cubicBezTo>
                    <a:cubicBezTo>
                      <a:pt x="183" y="36"/>
                      <a:pt x="183" y="36"/>
                      <a:pt x="183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0" y="36"/>
                      <a:pt x="200" y="36"/>
                    </a:cubicBezTo>
                    <a:cubicBezTo>
                      <a:pt x="200" y="36"/>
                      <a:pt x="204" y="57"/>
                      <a:pt x="216" y="48"/>
                    </a:cubicBezTo>
                    <a:cubicBezTo>
                      <a:pt x="216" y="48"/>
                      <a:pt x="224" y="41"/>
                      <a:pt x="216" y="33"/>
                    </a:cubicBezTo>
                    <a:cubicBezTo>
                      <a:pt x="216" y="33"/>
                      <a:pt x="225" y="28"/>
                      <a:pt x="238" y="28"/>
                    </a:cubicBezTo>
                    <a:cubicBezTo>
                      <a:pt x="238" y="28"/>
                      <a:pt x="241" y="42"/>
                      <a:pt x="251" y="34"/>
                    </a:cubicBezTo>
                    <a:cubicBezTo>
                      <a:pt x="251" y="34"/>
                      <a:pt x="261" y="28"/>
                      <a:pt x="266" y="35"/>
                    </a:cubicBezTo>
                    <a:cubicBezTo>
                      <a:pt x="266" y="35"/>
                      <a:pt x="280" y="37"/>
                      <a:pt x="293" y="27"/>
                    </a:cubicBezTo>
                    <a:cubicBezTo>
                      <a:pt x="293" y="27"/>
                      <a:pt x="302" y="32"/>
                      <a:pt x="307" y="25"/>
                    </a:cubicBezTo>
                    <a:cubicBezTo>
                      <a:pt x="307" y="25"/>
                      <a:pt x="307" y="25"/>
                      <a:pt x="307" y="2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1" name="Freeform 112"/>
              <p:cNvSpPr>
                <a:spLocks/>
              </p:cNvSpPr>
              <p:nvPr/>
            </p:nvSpPr>
            <p:spPr bwMode="auto">
              <a:xfrm>
                <a:off x="2114570" y="3304387"/>
                <a:ext cx="906394" cy="853268"/>
              </a:xfrm>
              <a:custGeom>
                <a:avLst/>
                <a:gdLst>
                  <a:gd name="T0" fmla="*/ 2147483647 w 320"/>
                  <a:gd name="T1" fmla="*/ 2147483647 h 342"/>
                  <a:gd name="T2" fmla="*/ 2147483647 w 320"/>
                  <a:gd name="T3" fmla="*/ 2147483647 h 342"/>
                  <a:gd name="T4" fmla="*/ 2147483647 w 320"/>
                  <a:gd name="T5" fmla="*/ 2147483647 h 342"/>
                  <a:gd name="T6" fmla="*/ 2147483647 w 320"/>
                  <a:gd name="T7" fmla="*/ 2147483647 h 342"/>
                  <a:gd name="T8" fmla="*/ 2147483647 w 320"/>
                  <a:gd name="T9" fmla="*/ 2147483647 h 342"/>
                  <a:gd name="T10" fmla="*/ 2147483647 w 320"/>
                  <a:gd name="T11" fmla="*/ 2147483647 h 342"/>
                  <a:gd name="T12" fmla="*/ 2147483647 w 320"/>
                  <a:gd name="T13" fmla="*/ 2147483647 h 342"/>
                  <a:gd name="T14" fmla="*/ 2147483647 w 320"/>
                  <a:gd name="T15" fmla="*/ 2147483647 h 342"/>
                  <a:gd name="T16" fmla="*/ 2147483647 w 320"/>
                  <a:gd name="T17" fmla="*/ 2147483647 h 342"/>
                  <a:gd name="T18" fmla="*/ 2147483647 w 320"/>
                  <a:gd name="T19" fmla="*/ 2147483647 h 342"/>
                  <a:gd name="T20" fmla="*/ 2147483647 w 320"/>
                  <a:gd name="T21" fmla="*/ 2147483647 h 342"/>
                  <a:gd name="T22" fmla="*/ 2147483647 w 320"/>
                  <a:gd name="T23" fmla="*/ 2147483647 h 342"/>
                  <a:gd name="T24" fmla="*/ 2147483647 w 320"/>
                  <a:gd name="T25" fmla="*/ 2147483647 h 342"/>
                  <a:gd name="T26" fmla="*/ 2147483647 w 320"/>
                  <a:gd name="T27" fmla="*/ 2147483647 h 342"/>
                  <a:gd name="T28" fmla="*/ 2147483647 w 320"/>
                  <a:gd name="T29" fmla="*/ 2147483647 h 342"/>
                  <a:gd name="T30" fmla="*/ 2147483647 w 320"/>
                  <a:gd name="T31" fmla="*/ 2147483647 h 342"/>
                  <a:gd name="T32" fmla="*/ 2147483647 w 320"/>
                  <a:gd name="T33" fmla="*/ 2147483647 h 342"/>
                  <a:gd name="T34" fmla="*/ 2147483647 w 320"/>
                  <a:gd name="T35" fmla="*/ 2147483647 h 342"/>
                  <a:gd name="T36" fmla="*/ 2147483647 w 320"/>
                  <a:gd name="T37" fmla="*/ 2147483647 h 342"/>
                  <a:gd name="T38" fmla="*/ 2147483647 w 320"/>
                  <a:gd name="T39" fmla="*/ 2147483647 h 342"/>
                  <a:gd name="T40" fmla="*/ 2147483647 w 320"/>
                  <a:gd name="T41" fmla="*/ 2147483647 h 342"/>
                  <a:gd name="T42" fmla="*/ 0 w 320"/>
                  <a:gd name="T43" fmla="*/ 2147483647 h 342"/>
                  <a:gd name="T44" fmla="*/ 2147483647 w 320"/>
                  <a:gd name="T45" fmla="*/ 2147483647 h 342"/>
                  <a:gd name="T46" fmla="*/ 2147483647 w 320"/>
                  <a:gd name="T47" fmla="*/ 2147483647 h 342"/>
                  <a:gd name="T48" fmla="*/ 2147483647 w 320"/>
                  <a:gd name="T49" fmla="*/ 2147483647 h 342"/>
                  <a:gd name="T50" fmla="*/ 2147483647 w 320"/>
                  <a:gd name="T51" fmla="*/ 2147483647 h 342"/>
                  <a:gd name="T52" fmla="*/ 2147483647 w 320"/>
                  <a:gd name="T53" fmla="*/ 2147483647 h 342"/>
                  <a:gd name="T54" fmla="*/ 2147483647 w 320"/>
                  <a:gd name="T55" fmla="*/ 2147483647 h 342"/>
                  <a:gd name="T56" fmla="*/ 2147483647 w 320"/>
                  <a:gd name="T57" fmla="*/ 2147483647 h 342"/>
                  <a:gd name="T58" fmla="*/ 2147483647 w 320"/>
                  <a:gd name="T59" fmla="*/ 2147483647 h 342"/>
                  <a:gd name="T60" fmla="*/ 2147483647 w 320"/>
                  <a:gd name="T61" fmla="*/ 2147483647 h 342"/>
                  <a:gd name="T62" fmla="*/ 2147483647 w 320"/>
                  <a:gd name="T63" fmla="*/ 2147483647 h 342"/>
                  <a:gd name="T64" fmla="*/ 2147483647 w 320"/>
                  <a:gd name="T65" fmla="*/ 2147483647 h 342"/>
                  <a:gd name="T66" fmla="*/ 2147483647 w 320"/>
                  <a:gd name="T67" fmla="*/ 2147483647 h 342"/>
                  <a:gd name="T68" fmla="*/ 2147483647 w 320"/>
                  <a:gd name="T69" fmla="*/ 2147483647 h 342"/>
                  <a:gd name="T70" fmla="*/ 2147483647 w 320"/>
                  <a:gd name="T71" fmla="*/ 2147483647 h 342"/>
                  <a:gd name="T72" fmla="*/ 2147483647 w 320"/>
                  <a:gd name="T73" fmla="*/ 2147483647 h 342"/>
                  <a:gd name="T74" fmla="*/ 2147483647 w 320"/>
                  <a:gd name="T75" fmla="*/ 2147483647 h 342"/>
                  <a:gd name="T76" fmla="*/ 2147483647 w 320"/>
                  <a:gd name="T77" fmla="*/ 2147483647 h 342"/>
                  <a:gd name="T78" fmla="*/ 2147483647 w 320"/>
                  <a:gd name="T79" fmla="*/ 2147483647 h 342"/>
                  <a:gd name="T80" fmla="*/ 2147483647 w 320"/>
                  <a:gd name="T81" fmla="*/ 2147483647 h 342"/>
                  <a:gd name="T82" fmla="*/ 2147483647 w 320"/>
                  <a:gd name="T83" fmla="*/ 2147483647 h 342"/>
                  <a:gd name="T84" fmla="*/ 2147483647 w 320"/>
                  <a:gd name="T85" fmla="*/ 2147483647 h 342"/>
                  <a:gd name="T86" fmla="*/ 2147483647 w 320"/>
                  <a:gd name="T87" fmla="*/ 2147483647 h 342"/>
                  <a:gd name="T88" fmla="*/ 2147483647 w 320"/>
                  <a:gd name="T89" fmla="*/ 2147483647 h 342"/>
                  <a:gd name="T90" fmla="*/ 2147483647 w 320"/>
                  <a:gd name="T91" fmla="*/ 2147483647 h 342"/>
                  <a:gd name="T92" fmla="*/ 2147483647 w 320"/>
                  <a:gd name="T93" fmla="*/ 2147483647 h 342"/>
                  <a:gd name="T94" fmla="*/ 2147483647 w 320"/>
                  <a:gd name="T95" fmla="*/ 2147483647 h 342"/>
                  <a:gd name="T96" fmla="*/ 2147483647 w 320"/>
                  <a:gd name="T97" fmla="*/ 2147483647 h 342"/>
                  <a:gd name="T98" fmla="*/ 2147483647 w 320"/>
                  <a:gd name="T99" fmla="*/ 2147483647 h 342"/>
                  <a:gd name="T100" fmla="*/ 2147483647 w 320"/>
                  <a:gd name="T101" fmla="*/ 2147483647 h 342"/>
                  <a:gd name="T102" fmla="*/ 2147483647 w 320"/>
                  <a:gd name="T103" fmla="*/ 2147483647 h 342"/>
                  <a:gd name="T104" fmla="*/ 2147483647 w 320"/>
                  <a:gd name="T105" fmla="*/ 2147483647 h 342"/>
                  <a:gd name="T106" fmla="*/ 2147483647 w 320"/>
                  <a:gd name="T107" fmla="*/ 2147483647 h 342"/>
                  <a:gd name="T108" fmla="*/ 2147483647 w 320"/>
                  <a:gd name="T109" fmla="*/ 2147483647 h 342"/>
                  <a:gd name="T110" fmla="*/ 2147483647 w 320"/>
                  <a:gd name="T111" fmla="*/ 2147483647 h 342"/>
                  <a:gd name="T112" fmla="*/ 2147483647 w 320"/>
                  <a:gd name="T113" fmla="*/ 2147483647 h 342"/>
                  <a:gd name="T114" fmla="*/ 2147483647 w 320"/>
                  <a:gd name="T115" fmla="*/ 2147483647 h 34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0"/>
                  <a:gd name="T175" fmla="*/ 0 h 342"/>
                  <a:gd name="T176" fmla="*/ 320 w 320"/>
                  <a:gd name="T177" fmla="*/ 342 h 34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0" h="342">
                    <a:moveTo>
                      <a:pt x="288" y="311"/>
                    </a:moveTo>
                    <a:cubicBezTo>
                      <a:pt x="288" y="311"/>
                      <a:pt x="272" y="311"/>
                      <a:pt x="274" y="322"/>
                    </a:cubicBezTo>
                    <a:cubicBezTo>
                      <a:pt x="274" y="322"/>
                      <a:pt x="274" y="333"/>
                      <a:pt x="253" y="330"/>
                    </a:cubicBezTo>
                    <a:cubicBezTo>
                      <a:pt x="253" y="330"/>
                      <a:pt x="246" y="319"/>
                      <a:pt x="235" y="329"/>
                    </a:cubicBezTo>
                    <a:cubicBezTo>
                      <a:pt x="235" y="329"/>
                      <a:pt x="217" y="333"/>
                      <a:pt x="207" y="323"/>
                    </a:cubicBezTo>
                    <a:cubicBezTo>
                      <a:pt x="207" y="323"/>
                      <a:pt x="199" y="306"/>
                      <a:pt x="196" y="325"/>
                    </a:cubicBezTo>
                    <a:cubicBezTo>
                      <a:pt x="196" y="325"/>
                      <a:pt x="192" y="339"/>
                      <a:pt x="180" y="342"/>
                    </a:cubicBezTo>
                    <a:cubicBezTo>
                      <a:pt x="170" y="339"/>
                      <a:pt x="176" y="314"/>
                      <a:pt x="157" y="315"/>
                    </a:cubicBezTo>
                    <a:cubicBezTo>
                      <a:pt x="157" y="315"/>
                      <a:pt x="137" y="306"/>
                      <a:pt x="130" y="318"/>
                    </a:cubicBezTo>
                    <a:cubicBezTo>
                      <a:pt x="130" y="318"/>
                      <a:pt x="133" y="330"/>
                      <a:pt x="123" y="322"/>
                    </a:cubicBezTo>
                    <a:cubicBezTo>
                      <a:pt x="123" y="322"/>
                      <a:pt x="127" y="315"/>
                      <a:pt x="124" y="312"/>
                    </a:cubicBezTo>
                    <a:cubicBezTo>
                      <a:pt x="124" y="312"/>
                      <a:pt x="118" y="310"/>
                      <a:pt x="111" y="315"/>
                    </a:cubicBezTo>
                    <a:cubicBezTo>
                      <a:pt x="111" y="315"/>
                      <a:pt x="117" y="311"/>
                      <a:pt x="118" y="304"/>
                    </a:cubicBezTo>
                    <a:cubicBezTo>
                      <a:pt x="118" y="304"/>
                      <a:pt x="121" y="292"/>
                      <a:pt x="111" y="296"/>
                    </a:cubicBezTo>
                    <a:cubicBezTo>
                      <a:pt x="111" y="296"/>
                      <a:pt x="103" y="293"/>
                      <a:pt x="100" y="297"/>
                    </a:cubicBezTo>
                    <a:cubicBezTo>
                      <a:pt x="100" y="297"/>
                      <a:pt x="94" y="286"/>
                      <a:pt x="84" y="294"/>
                    </a:cubicBezTo>
                    <a:cubicBezTo>
                      <a:pt x="84" y="294"/>
                      <a:pt x="86" y="278"/>
                      <a:pt x="76" y="280"/>
                    </a:cubicBezTo>
                    <a:cubicBezTo>
                      <a:pt x="60" y="280"/>
                      <a:pt x="59" y="262"/>
                      <a:pt x="52" y="261"/>
                    </a:cubicBezTo>
                    <a:cubicBezTo>
                      <a:pt x="52" y="261"/>
                      <a:pt x="48" y="250"/>
                      <a:pt x="31" y="256"/>
                    </a:cubicBezTo>
                    <a:cubicBezTo>
                      <a:pt x="24" y="249"/>
                      <a:pt x="30" y="263"/>
                      <a:pt x="5" y="260"/>
                    </a:cubicBezTo>
                    <a:cubicBezTo>
                      <a:pt x="18" y="246"/>
                      <a:pt x="11" y="238"/>
                      <a:pt x="11" y="238"/>
                    </a:cubicBezTo>
                    <a:cubicBezTo>
                      <a:pt x="13" y="217"/>
                      <a:pt x="0" y="223"/>
                      <a:pt x="0" y="223"/>
                    </a:cubicBezTo>
                    <a:cubicBezTo>
                      <a:pt x="0" y="223"/>
                      <a:pt x="9" y="208"/>
                      <a:pt x="2" y="167"/>
                    </a:cubicBezTo>
                    <a:cubicBezTo>
                      <a:pt x="1" y="150"/>
                      <a:pt x="16" y="144"/>
                      <a:pt x="13" y="139"/>
                    </a:cubicBezTo>
                    <a:cubicBezTo>
                      <a:pt x="13" y="132"/>
                      <a:pt x="36" y="124"/>
                      <a:pt x="42" y="133"/>
                    </a:cubicBezTo>
                    <a:cubicBezTo>
                      <a:pt x="42" y="133"/>
                      <a:pt x="70" y="147"/>
                      <a:pt x="63" y="116"/>
                    </a:cubicBezTo>
                    <a:cubicBezTo>
                      <a:pt x="63" y="116"/>
                      <a:pt x="65" y="95"/>
                      <a:pt x="56" y="82"/>
                    </a:cubicBezTo>
                    <a:cubicBezTo>
                      <a:pt x="56" y="82"/>
                      <a:pt x="42" y="69"/>
                      <a:pt x="55" y="56"/>
                    </a:cubicBezTo>
                    <a:cubicBezTo>
                      <a:pt x="55" y="56"/>
                      <a:pt x="61" y="51"/>
                      <a:pt x="59" y="44"/>
                    </a:cubicBezTo>
                    <a:cubicBezTo>
                      <a:pt x="59" y="44"/>
                      <a:pt x="48" y="34"/>
                      <a:pt x="59" y="31"/>
                    </a:cubicBezTo>
                    <a:cubicBezTo>
                      <a:pt x="59" y="31"/>
                      <a:pt x="71" y="27"/>
                      <a:pt x="64" y="20"/>
                    </a:cubicBezTo>
                    <a:cubicBezTo>
                      <a:pt x="82" y="15"/>
                      <a:pt x="90" y="27"/>
                      <a:pt x="101" y="21"/>
                    </a:cubicBezTo>
                    <a:cubicBezTo>
                      <a:pt x="122" y="14"/>
                      <a:pt x="126" y="27"/>
                      <a:pt x="129" y="20"/>
                    </a:cubicBezTo>
                    <a:cubicBezTo>
                      <a:pt x="134" y="11"/>
                      <a:pt x="146" y="18"/>
                      <a:pt x="146" y="18"/>
                    </a:cubicBezTo>
                    <a:cubicBezTo>
                      <a:pt x="146" y="18"/>
                      <a:pt x="157" y="22"/>
                      <a:pt x="168" y="17"/>
                    </a:cubicBezTo>
                    <a:cubicBezTo>
                      <a:pt x="167" y="6"/>
                      <a:pt x="172" y="7"/>
                      <a:pt x="179" y="7"/>
                    </a:cubicBezTo>
                    <a:cubicBezTo>
                      <a:pt x="199" y="0"/>
                      <a:pt x="188" y="21"/>
                      <a:pt x="196" y="22"/>
                    </a:cubicBezTo>
                    <a:cubicBezTo>
                      <a:pt x="196" y="22"/>
                      <a:pt x="202" y="34"/>
                      <a:pt x="196" y="39"/>
                    </a:cubicBezTo>
                    <a:cubicBezTo>
                      <a:pt x="196" y="39"/>
                      <a:pt x="189" y="51"/>
                      <a:pt x="200" y="58"/>
                    </a:cubicBezTo>
                    <a:cubicBezTo>
                      <a:pt x="200" y="58"/>
                      <a:pt x="225" y="62"/>
                      <a:pt x="229" y="56"/>
                    </a:cubicBezTo>
                    <a:cubicBezTo>
                      <a:pt x="234" y="46"/>
                      <a:pt x="244" y="54"/>
                      <a:pt x="253" y="46"/>
                    </a:cubicBezTo>
                    <a:cubicBezTo>
                      <a:pt x="263" y="46"/>
                      <a:pt x="254" y="62"/>
                      <a:pt x="259" y="66"/>
                    </a:cubicBezTo>
                    <a:cubicBezTo>
                      <a:pt x="259" y="66"/>
                      <a:pt x="268" y="80"/>
                      <a:pt x="261" y="95"/>
                    </a:cubicBezTo>
                    <a:cubicBezTo>
                      <a:pt x="261" y="95"/>
                      <a:pt x="252" y="98"/>
                      <a:pt x="258" y="109"/>
                    </a:cubicBezTo>
                    <a:cubicBezTo>
                      <a:pt x="258" y="109"/>
                      <a:pt x="269" y="109"/>
                      <a:pt x="278" y="127"/>
                    </a:cubicBezTo>
                    <a:cubicBezTo>
                      <a:pt x="278" y="127"/>
                      <a:pt x="284" y="139"/>
                      <a:pt x="273" y="153"/>
                    </a:cubicBezTo>
                    <a:cubicBezTo>
                      <a:pt x="269" y="151"/>
                      <a:pt x="258" y="164"/>
                      <a:pt x="274" y="164"/>
                    </a:cubicBezTo>
                    <a:cubicBezTo>
                      <a:pt x="274" y="164"/>
                      <a:pt x="268" y="179"/>
                      <a:pt x="279" y="181"/>
                    </a:cubicBezTo>
                    <a:cubicBezTo>
                      <a:pt x="279" y="181"/>
                      <a:pt x="275" y="192"/>
                      <a:pt x="281" y="193"/>
                    </a:cubicBezTo>
                    <a:cubicBezTo>
                      <a:pt x="289" y="190"/>
                      <a:pt x="279" y="203"/>
                      <a:pt x="291" y="205"/>
                    </a:cubicBezTo>
                    <a:cubicBezTo>
                      <a:pt x="303" y="214"/>
                      <a:pt x="293" y="223"/>
                      <a:pt x="302" y="226"/>
                    </a:cubicBezTo>
                    <a:cubicBezTo>
                      <a:pt x="316" y="225"/>
                      <a:pt x="304" y="240"/>
                      <a:pt x="309" y="241"/>
                    </a:cubicBezTo>
                    <a:cubicBezTo>
                      <a:pt x="309" y="241"/>
                      <a:pt x="320" y="243"/>
                      <a:pt x="314" y="258"/>
                    </a:cubicBezTo>
                    <a:cubicBezTo>
                      <a:pt x="314" y="258"/>
                      <a:pt x="301" y="265"/>
                      <a:pt x="317" y="270"/>
                    </a:cubicBezTo>
                    <a:cubicBezTo>
                      <a:pt x="317" y="270"/>
                      <a:pt x="307" y="286"/>
                      <a:pt x="299" y="273"/>
                    </a:cubicBezTo>
                    <a:cubicBezTo>
                      <a:pt x="299" y="273"/>
                      <a:pt x="292" y="267"/>
                      <a:pt x="286" y="283"/>
                    </a:cubicBezTo>
                    <a:cubicBezTo>
                      <a:pt x="286" y="283"/>
                      <a:pt x="276" y="298"/>
                      <a:pt x="288" y="311"/>
                    </a:cubicBezTo>
                    <a:cubicBezTo>
                      <a:pt x="288" y="311"/>
                      <a:pt x="288" y="311"/>
                      <a:pt x="288" y="31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2" name="Freeform 50"/>
              <p:cNvSpPr>
                <a:spLocks/>
              </p:cNvSpPr>
              <p:nvPr/>
            </p:nvSpPr>
            <p:spPr bwMode="auto">
              <a:xfrm>
                <a:off x="2089319" y="2490011"/>
                <a:ext cx="843930" cy="968766"/>
              </a:xfrm>
              <a:custGeom>
                <a:avLst/>
                <a:gdLst>
                  <a:gd name="T0" fmla="*/ 2147483647 w 298"/>
                  <a:gd name="T1" fmla="*/ 2147483647 h 388"/>
                  <a:gd name="T2" fmla="*/ 2147483647 w 298"/>
                  <a:gd name="T3" fmla="*/ 2147483647 h 388"/>
                  <a:gd name="T4" fmla="*/ 2147483647 w 298"/>
                  <a:gd name="T5" fmla="*/ 2147483647 h 388"/>
                  <a:gd name="T6" fmla="*/ 2147483647 w 298"/>
                  <a:gd name="T7" fmla="*/ 2147483647 h 388"/>
                  <a:gd name="T8" fmla="*/ 2147483647 w 298"/>
                  <a:gd name="T9" fmla="*/ 2147483647 h 388"/>
                  <a:gd name="T10" fmla="*/ 2147483647 w 298"/>
                  <a:gd name="T11" fmla="*/ 2147483647 h 388"/>
                  <a:gd name="T12" fmla="*/ 2147483647 w 298"/>
                  <a:gd name="T13" fmla="*/ 2147483647 h 388"/>
                  <a:gd name="T14" fmla="*/ 2147483647 w 298"/>
                  <a:gd name="T15" fmla="*/ 2147483647 h 388"/>
                  <a:gd name="T16" fmla="*/ 2147483647 w 298"/>
                  <a:gd name="T17" fmla="*/ 2147483647 h 388"/>
                  <a:gd name="T18" fmla="*/ 2147483647 w 298"/>
                  <a:gd name="T19" fmla="*/ 2147483647 h 388"/>
                  <a:gd name="T20" fmla="*/ 2147483647 w 298"/>
                  <a:gd name="T21" fmla="*/ 2147483647 h 388"/>
                  <a:gd name="T22" fmla="*/ 2147483647 w 298"/>
                  <a:gd name="T23" fmla="*/ 2147483647 h 388"/>
                  <a:gd name="T24" fmla="*/ 2147483647 w 298"/>
                  <a:gd name="T25" fmla="*/ 2147483647 h 388"/>
                  <a:gd name="T26" fmla="*/ 2147483647 w 298"/>
                  <a:gd name="T27" fmla="*/ 2147483647 h 388"/>
                  <a:gd name="T28" fmla="*/ 2147483647 w 298"/>
                  <a:gd name="T29" fmla="*/ 2147483647 h 388"/>
                  <a:gd name="T30" fmla="*/ 2147483647 w 298"/>
                  <a:gd name="T31" fmla="*/ 2147483647 h 388"/>
                  <a:gd name="T32" fmla="*/ 2147483647 w 298"/>
                  <a:gd name="T33" fmla="*/ 2147483647 h 388"/>
                  <a:gd name="T34" fmla="*/ 2147483647 w 298"/>
                  <a:gd name="T35" fmla="*/ 2147483647 h 388"/>
                  <a:gd name="T36" fmla="*/ 2147483647 w 298"/>
                  <a:gd name="T37" fmla="*/ 2147483647 h 388"/>
                  <a:gd name="T38" fmla="*/ 2147483647 w 298"/>
                  <a:gd name="T39" fmla="*/ 2147483647 h 388"/>
                  <a:gd name="T40" fmla="*/ 2147483647 w 298"/>
                  <a:gd name="T41" fmla="*/ 2147483647 h 388"/>
                  <a:gd name="T42" fmla="*/ 2147483647 w 298"/>
                  <a:gd name="T43" fmla="*/ 2147483647 h 388"/>
                  <a:gd name="T44" fmla="*/ 2147483647 w 298"/>
                  <a:gd name="T45" fmla="*/ 2147483647 h 388"/>
                  <a:gd name="T46" fmla="*/ 2147483647 w 298"/>
                  <a:gd name="T47" fmla="*/ 2147483647 h 388"/>
                  <a:gd name="T48" fmla="*/ 2147483647 w 298"/>
                  <a:gd name="T49" fmla="*/ 2147483647 h 388"/>
                  <a:gd name="T50" fmla="*/ 2147483647 w 298"/>
                  <a:gd name="T51" fmla="*/ 2147483647 h 388"/>
                  <a:gd name="T52" fmla="*/ 2147483647 w 298"/>
                  <a:gd name="T53" fmla="*/ 2147483647 h 388"/>
                  <a:gd name="T54" fmla="*/ 2147483647 w 298"/>
                  <a:gd name="T55" fmla="*/ 2147483647 h 388"/>
                  <a:gd name="T56" fmla="*/ 2147483647 w 298"/>
                  <a:gd name="T57" fmla="*/ 2147483647 h 388"/>
                  <a:gd name="T58" fmla="*/ 2147483647 w 298"/>
                  <a:gd name="T59" fmla="*/ 2147483647 h 388"/>
                  <a:gd name="T60" fmla="*/ 2147483647 w 298"/>
                  <a:gd name="T61" fmla="*/ 2147483647 h 388"/>
                  <a:gd name="T62" fmla="*/ 2147483647 w 298"/>
                  <a:gd name="T63" fmla="*/ 2147483647 h 388"/>
                  <a:gd name="T64" fmla="*/ 2147483647 w 298"/>
                  <a:gd name="T65" fmla="*/ 2147483647 h 3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8"/>
                  <a:gd name="T100" fmla="*/ 0 h 388"/>
                  <a:gd name="T101" fmla="*/ 298 w 298"/>
                  <a:gd name="T102" fmla="*/ 388 h 3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8" h="388">
                    <a:moveTo>
                      <a:pt x="72" y="32"/>
                    </a:moveTo>
                    <a:cubicBezTo>
                      <a:pt x="72" y="32"/>
                      <a:pt x="85" y="40"/>
                      <a:pt x="85" y="18"/>
                    </a:cubicBezTo>
                    <a:cubicBezTo>
                      <a:pt x="85" y="18"/>
                      <a:pt x="88" y="0"/>
                      <a:pt x="99" y="14"/>
                    </a:cubicBezTo>
                    <a:cubicBezTo>
                      <a:pt x="99" y="14"/>
                      <a:pt x="110" y="27"/>
                      <a:pt x="125" y="13"/>
                    </a:cubicBezTo>
                    <a:cubicBezTo>
                      <a:pt x="125" y="13"/>
                      <a:pt x="124" y="7"/>
                      <a:pt x="137" y="1"/>
                    </a:cubicBezTo>
                    <a:cubicBezTo>
                      <a:pt x="142" y="5"/>
                      <a:pt x="135" y="16"/>
                      <a:pt x="143" y="19"/>
                    </a:cubicBezTo>
                    <a:cubicBezTo>
                      <a:pt x="143" y="19"/>
                      <a:pt x="143" y="29"/>
                      <a:pt x="153" y="23"/>
                    </a:cubicBezTo>
                    <a:cubicBezTo>
                      <a:pt x="153" y="23"/>
                      <a:pt x="157" y="14"/>
                      <a:pt x="169" y="21"/>
                    </a:cubicBezTo>
                    <a:cubicBezTo>
                      <a:pt x="169" y="21"/>
                      <a:pt x="178" y="20"/>
                      <a:pt x="177" y="31"/>
                    </a:cubicBezTo>
                    <a:cubicBezTo>
                      <a:pt x="177" y="31"/>
                      <a:pt x="173" y="43"/>
                      <a:pt x="191" y="50"/>
                    </a:cubicBezTo>
                    <a:cubicBezTo>
                      <a:pt x="191" y="50"/>
                      <a:pt x="191" y="21"/>
                      <a:pt x="216" y="21"/>
                    </a:cubicBezTo>
                    <a:cubicBezTo>
                      <a:pt x="216" y="21"/>
                      <a:pt x="229" y="4"/>
                      <a:pt x="236" y="14"/>
                    </a:cubicBezTo>
                    <a:cubicBezTo>
                      <a:pt x="236" y="14"/>
                      <a:pt x="246" y="24"/>
                      <a:pt x="246" y="36"/>
                    </a:cubicBezTo>
                    <a:cubicBezTo>
                      <a:pt x="246" y="36"/>
                      <a:pt x="247" y="56"/>
                      <a:pt x="257" y="59"/>
                    </a:cubicBezTo>
                    <a:cubicBezTo>
                      <a:pt x="257" y="59"/>
                      <a:pt x="270" y="80"/>
                      <a:pt x="246" y="86"/>
                    </a:cubicBezTo>
                    <a:cubicBezTo>
                      <a:pt x="246" y="86"/>
                      <a:pt x="246" y="86"/>
                      <a:pt x="246" y="8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47" y="106"/>
                      <a:pt x="247" y="106"/>
                    </a:cubicBezTo>
                    <a:cubicBezTo>
                      <a:pt x="247" y="106"/>
                      <a:pt x="260" y="100"/>
                      <a:pt x="268" y="119"/>
                    </a:cubicBezTo>
                    <a:cubicBezTo>
                      <a:pt x="267" y="134"/>
                      <a:pt x="257" y="135"/>
                      <a:pt x="260" y="139"/>
                    </a:cubicBezTo>
                    <a:cubicBezTo>
                      <a:pt x="260" y="139"/>
                      <a:pt x="273" y="147"/>
                      <a:pt x="271" y="170"/>
                    </a:cubicBezTo>
                    <a:cubicBezTo>
                      <a:pt x="271" y="170"/>
                      <a:pt x="284" y="175"/>
                      <a:pt x="272" y="193"/>
                    </a:cubicBezTo>
                    <a:cubicBezTo>
                      <a:pt x="272" y="193"/>
                      <a:pt x="265" y="197"/>
                      <a:pt x="268" y="218"/>
                    </a:cubicBezTo>
                    <a:cubicBezTo>
                      <a:pt x="267" y="230"/>
                      <a:pt x="256" y="231"/>
                      <a:pt x="271" y="237"/>
                    </a:cubicBezTo>
                    <a:cubicBezTo>
                      <a:pt x="271" y="237"/>
                      <a:pt x="280" y="237"/>
                      <a:pt x="280" y="254"/>
                    </a:cubicBezTo>
                    <a:cubicBezTo>
                      <a:pt x="280" y="254"/>
                      <a:pt x="292" y="257"/>
                      <a:pt x="290" y="278"/>
                    </a:cubicBezTo>
                    <a:cubicBezTo>
                      <a:pt x="290" y="278"/>
                      <a:pt x="298" y="287"/>
                      <a:pt x="288" y="294"/>
                    </a:cubicBezTo>
                    <a:cubicBezTo>
                      <a:pt x="288" y="294"/>
                      <a:pt x="283" y="311"/>
                      <a:pt x="293" y="318"/>
                    </a:cubicBezTo>
                    <a:cubicBezTo>
                      <a:pt x="293" y="318"/>
                      <a:pt x="298" y="324"/>
                      <a:pt x="278" y="337"/>
                    </a:cubicBezTo>
                    <a:cubicBezTo>
                      <a:pt x="278" y="337"/>
                      <a:pt x="271" y="345"/>
                      <a:pt x="260" y="346"/>
                    </a:cubicBezTo>
                    <a:cubicBezTo>
                      <a:pt x="260" y="346"/>
                      <a:pt x="257" y="352"/>
                      <a:pt x="260" y="360"/>
                    </a:cubicBezTo>
                    <a:cubicBezTo>
                      <a:pt x="260" y="360"/>
                      <a:pt x="266" y="365"/>
                      <a:pt x="263" y="372"/>
                    </a:cubicBezTo>
                    <a:cubicBezTo>
                      <a:pt x="255" y="380"/>
                      <a:pt x="243" y="372"/>
                      <a:pt x="238" y="382"/>
                    </a:cubicBezTo>
                    <a:cubicBezTo>
                      <a:pt x="234" y="388"/>
                      <a:pt x="209" y="385"/>
                      <a:pt x="209" y="385"/>
                    </a:cubicBezTo>
                    <a:cubicBezTo>
                      <a:pt x="198" y="377"/>
                      <a:pt x="205" y="365"/>
                      <a:pt x="205" y="365"/>
                    </a:cubicBezTo>
                    <a:cubicBezTo>
                      <a:pt x="211" y="360"/>
                      <a:pt x="205" y="348"/>
                      <a:pt x="205" y="348"/>
                    </a:cubicBezTo>
                    <a:cubicBezTo>
                      <a:pt x="197" y="347"/>
                      <a:pt x="208" y="326"/>
                      <a:pt x="188" y="333"/>
                    </a:cubicBezTo>
                    <a:cubicBezTo>
                      <a:pt x="181" y="333"/>
                      <a:pt x="176" y="332"/>
                      <a:pt x="177" y="343"/>
                    </a:cubicBezTo>
                    <a:cubicBezTo>
                      <a:pt x="166" y="348"/>
                      <a:pt x="155" y="344"/>
                      <a:pt x="155" y="344"/>
                    </a:cubicBezTo>
                    <a:cubicBezTo>
                      <a:pt x="155" y="344"/>
                      <a:pt x="143" y="337"/>
                      <a:pt x="138" y="346"/>
                    </a:cubicBezTo>
                    <a:cubicBezTo>
                      <a:pt x="135" y="353"/>
                      <a:pt x="131" y="340"/>
                      <a:pt x="110" y="347"/>
                    </a:cubicBezTo>
                    <a:cubicBezTo>
                      <a:pt x="99" y="353"/>
                      <a:pt x="91" y="341"/>
                      <a:pt x="73" y="346"/>
                    </a:cubicBezTo>
                    <a:cubicBezTo>
                      <a:pt x="68" y="340"/>
                      <a:pt x="52" y="340"/>
                      <a:pt x="52" y="340"/>
                    </a:cubicBezTo>
                    <a:cubicBezTo>
                      <a:pt x="40" y="329"/>
                      <a:pt x="40" y="319"/>
                      <a:pt x="40" y="319"/>
                    </a:cubicBezTo>
                    <a:cubicBezTo>
                      <a:pt x="37" y="301"/>
                      <a:pt x="47" y="302"/>
                      <a:pt x="47" y="302"/>
                    </a:cubicBezTo>
                    <a:cubicBezTo>
                      <a:pt x="59" y="296"/>
                      <a:pt x="44" y="293"/>
                      <a:pt x="51" y="282"/>
                    </a:cubicBezTo>
                    <a:cubicBezTo>
                      <a:pt x="51" y="263"/>
                      <a:pt x="47" y="259"/>
                      <a:pt x="47" y="259"/>
                    </a:cubicBezTo>
                    <a:cubicBezTo>
                      <a:pt x="40" y="269"/>
                      <a:pt x="30" y="254"/>
                      <a:pt x="30" y="254"/>
                    </a:cubicBezTo>
                    <a:cubicBezTo>
                      <a:pt x="25" y="254"/>
                      <a:pt x="25" y="246"/>
                      <a:pt x="15" y="236"/>
                    </a:cubicBezTo>
                    <a:cubicBezTo>
                      <a:pt x="3" y="229"/>
                      <a:pt x="11" y="223"/>
                      <a:pt x="11" y="223"/>
                    </a:cubicBezTo>
                    <a:cubicBezTo>
                      <a:pt x="18" y="210"/>
                      <a:pt x="7" y="212"/>
                      <a:pt x="7" y="202"/>
                    </a:cubicBezTo>
                    <a:cubicBezTo>
                      <a:pt x="14" y="202"/>
                      <a:pt x="8" y="194"/>
                      <a:pt x="8" y="194"/>
                    </a:cubicBezTo>
                    <a:cubicBezTo>
                      <a:pt x="0" y="183"/>
                      <a:pt x="11" y="179"/>
                      <a:pt x="11" y="179"/>
                    </a:cubicBezTo>
                    <a:cubicBezTo>
                      <a:pt x="17" y="167"/>
                      <a:pt x="11" y="161"/>
                      <a:pt x="11" y="161"/>
                    </a:cubicBezTo>
                    <a:cubicBezTo>
                      <a:pt x="7" y="153"/>
                      <a:pt x="15" y="152"/>
                      <a:pt x="11" y="141"/>
                    </a:cubicBezTo>
                    <a:cubicBezTo>
                      <a:pt x="13" y="127"/>
                      <a:pt x="4" y="117"/>
                      <a:pt x="14" y="115"/>
                    </a:cubicBezTo>
                    <a:cubicBezTo>
                      <a:pt x="23" y="113"/>
                      <a:pt x="27" y="102"/>
                      <a:pt x="27" y="102"/>
                    </a:cubicBezTo>
                    <a:cubicBezTo>
                      <a:pt x="27" y="102"/>
                      <a:pt x="27" y="102"/>
                      <a:pt x="27" y="102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35" y="85"/>
                      <a:pt x="35" y="85"/>
                      <a:pt x="35" y="85"/>
                    </a:cubicBezTo>
                    <a:cubicBezTo>
                      <a:pt x="44" y="85"/>
                      <a:pt x="41" y="66"/>
                      <a:pt x="41" y="66"/>
                    </a:cubicBezTo>
                    <a:cubicBezTo>
                      <a:pt x="53" y="59"/>
                      <a:pt x="45" y="56"/>
                      <a:pt x="45" y="56"/>
                    </a:cubicBezTo>
                    <a:cubicBezTo>
                      <a:pt x="40" y="45"/>
                      <a:pt x="47" y="41"/>
                      <a:pt x="47" y="41"/>
                    </a:cubicBezTo>
                    <a:cubicBezTo>
                      <a:pt x="48" y="48"/>
                      <a:pt x="47" y="50"/>
                      <a:pt x="57" y="53"/>
                    </a:cubicBezTo>
                    <a:cubicBezTo>
                      <a:pt x="54" y="42"/>
                      <a:pt x="61" y="35"/>
                      <a:pt x="61" y="35"/>
                    </a:cubicBezTo>
                    <a:cubicBezTo>
                      <a:pt x="66" y="27"/>
                      <a:pt x="72" y="32"/>
                      <a:pt x="72" y="32"/>
                    </a:cubicBezTo>
                    <a:cubicBezTo>
                      <a:pt x="72" y="32"/>
                      <a:pt x="72" y="32"/>
                      <a:pt x="72" y="32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3" name="Freeform 49"/>
              <p:cNvSpPr>
                <a:spLocks/>
              </p:cNvSpPr>
              <p:nvPr/>
            </p:nvSpPr>
            <p:spPr bwMode="auto">
              <a:xfrm>
                <a:off x="2785727" y="2556009"/>
                <a:ext cx="925000" cy="1085442"/>
              </a:xfrm>
              <a:custGeom>
                <a:avLst/>
                <a:gdLst>
                  <a:gd name="T0" fmla="*/ 2147483647 w 327"/>
                  <a:gd name="T1" fmla="*/ 2147483647 h 434"/>
                  <a:gd name="T2" fmla="*/ 2147483647 w 327"/>
                  <a:gd name="T3" fmla="*/ 2147483647 h 434"/>
                  <a:gd name="T4" fmla="*/ 2147483647 w 327"/>
                  <a:gd name="T5" fmla="*/ 2147483647 h 434"/>
                  <a:gd name="T6" fmla="*/ 2147483647 w 327"/>
                  <a:gd name="T7" fmla="*/ 2147483647 h 434"/>
                  <a:gd name="T8" fmla="*/ 2147483647 w 327"/>
                  <a:gd name="T9" fmla="*/ 2147483647 h 434"/>
                  <a:gd name="T10" fmla="*/ 2147483647 w 327"/>
                  <a:gd name="T11" fmla="*/ 2147483647 h 434"/>
                  <a:gd name="T12" fmla="*/ 2147483647 w 327"/>
                  <a:gd name="T13" fmla="*/ 2147483647 h 434"/>
                  <a:gd name="T14" fmla="*/ 2147483647 w 327"/>
                  <a:gd name="T15" fmla="*/ 2147483647 h 434"/>
                  <a:gd name="T16" fmla="*/ 0 w 327"/>
                  <a:gd name="T17" fmla="*/ 2147483647 h 434"/>
                  <a:gd name="T18" fmla="*/ 2147483647 w 327"/>
                  <a:gd name="T19" fmla="*/ 2147483647 h 434"/>
                  <a:gd name="T20" fmla="*/ 2147483647 w 327"/>
                  <a:gd name="T21" fmla="*/ 2147483647 h 434"/>
                  <a:gd name="T22" fmla="*/ 2147483647 w 327"/>
                  <a:gd name="T23" fmla="*/ 2147483647 h 434"/>
                  <a:gd name="T24" fmla="*/ 2147483647 w 327"/>
                  <a:gd name="T25" fmla="*/ 2147483647 h 434"/>
                  <a:gd name="T26" fmla="*/ 2147483647 w 327"/>
                  <a:gd name="T27" fmla="*/ 2147483647 h 434"/>
                  <a:gd name="T28" fmla="*/ 2147483647 w 327"/>
                  <a:gd name="T29" fmla="*/ 2147483647 h 434"/>
                  <a:gd name="T30" fmla="*/ 2147483647 w 327"/>
                  <a:gd name="T31" fmla="*/ 2147483647 h 434"/>
                  <a:gd name="T32" fmla="*/ 2147483647 w 327"/>
                  <a:gd name="T33" fmla="*/ 2147483647 h 434"/>
                  <a:gd name="T34" fmla="*/ 2147483647 w 327"/>
                  <a:gd name="T35" fmla="*/ 2147483647 h 434"/>
                  <a:gd name="T36" fmla="*/ 2147483647 w 327"/>
                  <a:gd name="T37" fmla="*/ 2147483647 h 434"/>
                  <a:gd name="T38" fmla="*/ 2147483647 w 327"/>
                  <a:gd name="T39" fmla="*/ 2147483647 h 434"/>
                  <a:gd name="T40" fmla="*/ 2147483647 w 327"/>
                  <a:gd name="T41" fmla="*/ 2147483647 h 434"/>
                  <a:gd name="T42" fmla="*/ 2147483647 w 327"/>
                  <a:gd name="T43" fmla="*/ 2147483647 h 434"/>
                  <a:gd name="T44" fmla="*/ 2147483647 w 327"/>
                  <a:gd name="T45" fmla="*/ 2147483647 h 434"/>
                  <a:gd name="T46" fmla="*/ 2147483647 w 327"/>
                  <a:gd name="T47" fmla="*/ 2147483647 h 434"/>
                  <a:gd name="T48" fmla="*/ 2147483647 w 327"/>
                  <a:gd name="T49" fmla="*/ 2147483647 h 434"/>
                  <a:gd name="T50" fmla="*/ 2147483647 w 327"/>
                  <a:gd name="T51" fmla="*/ 2147483647 h 434"/>
                  <a:gd name="T52" fmla="*/ 2147483647 w 327"/>
                  <a:gd name="T53" fmla="*/ 2147483647 h 434"/>
                  <a:gd name="T54" fmla="*/ 2147483647 w 327"/>
                  <a:gd name="T55" fmla="*/ 2147483647 h 434"/>
                  <a:gd name="T56" fmla="*/ 2147483647 w 327"/>
                  <a:gd name="T57" fmla="*/ 2147483647 h 434"/>
                  <a:gd name="T58" fmla="*/ 2147483647 w 327"/>
                  <a:gd name="T59" fmla="*/ 2147483647 h 434"/>
                  <a:gd name="T60" fmla="*/ 2147483647 w 327"/>
                  <a:gd name="T61" fmla="*/ 2147483647 h 434"/>
                  <a:gd name="T62" fmla="*/ 2147483647 w 327"/>
                  <a:gd name="T63" fmla="*/ 2147483647 h 434"/>
                  <a:gd name="T64" fmla="*/ 2147483647 w 327"/>
                  <a:gd name="T65" fmla="*/ 2147483647 h 434"/>
                  <a:gd name="T66" fmla="*/ 2147483647 w 327"/>
                  <a:gd name="T67" fmla="*/ 2147483647 h 4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27"/>
                  <a:gd name="T103" fmla="*/ 0 h 434"/>
                  <a:gd name="T104" fmla="*/ 327 w 327"/>
                  <a:gd name="T105" fmla="*/ 434 h 4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27" h="434">
                    <a:moveTo>
                      <a:pt x="17" y="346"/>
                    </a:moveTo>
                    <a:cubicBezTo>
                      <a:pt x="20" y="339"/>
                      <a:pt x="14" y="333"/>
                      <a:pt x="14" y="333"/>
                    </a:cubicBezTo>
                    <a:cubicBezTo>
                      <a:pt x="11" y="325"/>
                      <a:pt x="14" y="319"/>
                      <a:pt x="14" y="319"/>
                    </a:cubicBezTo>
                    <a:cubicBezTo>
                      <a:pt x="25" y="318"/>
                      <a:pt x="32" y="310"/>
                      <a:pt x="32" y="310"/>
                    </a:cubicBezTo>
                    <a:cubicBezTo>
                      <a:pt x="52" y="297"/>
                      <a:pt x="47" y="291"/>
                      <a:pt x="47" y="291"/>
                    </a:cubicBezTo>
                    <a:cubicBezTo>
                      <a:pt x="37" y="284"/>
                      <a:pt x="42" y="267"/>
                      <a:pt x="42" y="267"/>
                    </a:cubicBezTo>
                    <a:cubicBezTo>
                      <a:pt x="52" y="260"/>
                      <a:pt x="44" y="251"/>
                      <a:pt x="44" y="251"/>
                    </a:cubicBezTo>
                    <a:cubicBezTo>
                      <a:pt x="46" y="230"/>
                      <a:pt x="34" y="227"/>
                      <a:pt x="34" y="227"/>
                    </a:cubicBezTo>
                    <a:cubicBezTo>
                      <a:pt x="34" y="210"/>
                      <a:pt x="25" y="210"/>
                      <a:pt x="25" y="210"/>
                    </a:cubicBezTo>
                    <a:cubicBezTo>
                      <a:pt x="10" y="204"/>
                      <a:pt x="21" y="203"/>
                      <a:pt x="22" y="191"/>
                    </a:cubicBezTo>
                    <a:cubicBezTo>
                      <a:pt x="19" y="170"/>
                      <a:pt x="26" y="166"/>
                      <a:pt x="26" y="166"/>
                    </a:cubicBezTo>
                    <a:cubicBezTo>
                      <a:pt x="38" y="148"/>
                      <a:pt x="25" y="143"/>
                      <a:pt x="25" y="143"/>
                    </a:cubicBezTo>
                    <a:cubicBezTo>
                      <a:pt x="27" y="120"/>
                      <a:pt x="14" y="112"/>
                      <a:pt x="14" y="112"/>
                    </a:cubicBezTo>
                    <a:cubicBezTo>
                      <a:pt x="11" y="108"/>
                      <a:pt x="21" y="107"/>
                      <a:pt x="22" y="92"/>
                    </a:cubicBezTo>
                    <a:cubicBezTo>
                      <a:pt x="14" y="73"/>
                      <a:pt x="1" y="79"/>
                      <a:pt x="1" y="79"/>
                    </a:cubicBezTo>
                    <a:cubicBezTo>
                      <a:pt x="1" y="79"/>
                      <a:pt x="1" y="79"/>
                      <a:pt x="1" y="7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4" y="53"/>
                      <a:pt x="11" y="32"/>
                      <a:pt x="11" y="32"/>
                    </a:cubicBezTo>
                    <a:cubicBezTo>
                      <a:pt x="26" y="28"/>
                      <a:pt x="31" y="17"/>
                      <a:pt x="39" y="18"/>
                    </a:cubicBezTo>
                    <a:cubicBezTo>
                      <a:pt x="39" y="18"/>
                      <a:pt x="45" y="0"/>
                      <a:pt x="56" y="16"/>
                    </a:cubicBezTo>
                    <a:cubicBezTo>
                      <a:pt x="56" y="16"/>
                      <a:pt x="60" y="27"/>
                      <a:pt x="72" y="18"/>
                    </a:cubicBezTo>
                    <a:cubicBezTo>
                      <a:pt x="72" y="18"/>
                      <a:pt x="80" y="11"/>
                      <a:pt x="93" y="13"/>
                    </a:cubicBezTo>
                    <a:cubicBezTo>
                      <a:pt x="93" y="13"/>
                      <a:pt x="109" y="11"/>
                      <a:pt x="115" y="21"/>
                    </a:cubicBezTo>
                    <a:cubicBezTo>
                      <a:pt x="115" y="21"/>
                      <a:pt x="127" y="30"/>
                      <a:pt x="124" y="38"/>
                    </a:cubicBezTo>
                    <a:cubicBezTo>
                      <a:pt x="124" y="38"/>
                      <a:pt x="127" y="49"/>
                      <a:pt x="146" y="53"/>
                    </a:cubicBezTo>
                    <a:cubicBezTo>
                      <a:pt x="146" y="53"/>
                      <a:pt x="146" y="53"/>
                      <a:pt x="146" y="53"/>
                    </a:cubicBezTo>
                    <a:cubicBezTo>
                      <a:pt x="145" y="83"/>
                      <a:pt x="145" y="83"/>
                      <a:pt x="145" y="83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44" y="104"/>
                      <a:pt x="144" y="104"/>
                    </a:cubicBezTo>
                    <a:cubicBezTo>
                      <a:pt x="144" y="104"/>
                      <a:pt x="158" y="102"/>
                      <a:pt x="156" y="114"/>
                    </a:cubicBezTo>
                    <a:cubicBezTo>
                      <a:pt x="156" y="114"/>
                      <a:pt x="153" y="127"/>
                      <a:pt x="164" y="127"/>
                    </a:cubicBezTo>
                    <a:cubicBezTo>
                      <a:pt x="164" y="127"/>
                      <a:pt x="175" y="131"/>
                      <a:pt x="168" y="141"/>
                    </a:cubicBezTo>
                    <a:cubicBezTo>
                      <a:pt x="168" y="141"/>
                      <a:pt x="162" y="152"/>
                      <a:pt x="190" y="148"/>
                    </a:cubicBezTo>
                    <a:cubicBezTo>
                      <a:pt x="190" y="148"/>
                      <a:pt x="204" y="143"/>
                      <a:pt x="212" y="158"/>
                    </a:cubicBezTo>
                    <a:cubicBezTo>
                      <a:pt x="212" y="158"/>
                      <a:pt x="217" y="165"/>
                      <a:pt x="217" y="171"/>
                    </a:cubicBezTo>
                    <a:cubicBezTo>
                      <a:pt x="217" y="171"/>
                      <a:pt x="215" y="184"/>
                      <a:pt x="225" y="188"/>
                    </a:cubicBezTo>
                    <a:cubicBezTo>
                      <a:pt x="225" y="188"/>
                      <a:pt x="239" y="200"/>
                      <a:pt x="270" y="189"/>
                    </a:cubicBezTo>
                    <a:cubicBezTo>
                      <a:pt x="275" y="181"/>
                      <a:pt x="285" y="186"/>
                      <a:pt x="285" y="181"/>
                    </a:cubicBezTo>
                    <a:cubicBezTo>
                      <a:pt x="285" y="181"/>
                      <a:pt x="288" y="163"/>
                      <a:pt x="300" y="180"/>
                    </a:cubicBezTo>
                    <a:cubicBezTo>
                      <a:pt x="300" y="180"/>
                      <a:pt x="303" y="189"/>
                      <a:pt x="315" y="187"/>
                    </a:cubicBezTo>
                    <a:cubicBezTo>
                      <a:pt x="315" y="187"/>
                      <a:pt x="298" y="196"/>
                      <a:pt x="314" y="210"/>
                    </a:cubicBezTo>
                    <a:cubicBezTo>
                      <a:pt x="325" y="206"/>
                      <a:pt x="317" y="218"/>
                      <a:pt x="325" y="220"/>
                    </a:cubicBezTo>
                    <a:cubicBezTo>
                      <a:pt x="327" y="233"/>
                      <a:pt x="322" y="240"/>
                      <a:pt x="322" y="240"/>
                    </a:cubicBezTo>
                    <a:cubicBezTo>
                      <a:pt x="322" y="240"/>
                      <a:pt x="303" y="244"/>
                      <a:pt x="305" y="256"/>
                    </a:cubicBezTo>
                    <a:cubicBezTo>
                      <a:pt x="308" y="261"/>
                      <a:pt x="295" y="261"/>
                      <a:pt x="294" y="269"/>
                    </a:cubicBezTo>
                    <a:cubicBezTo>
                      <a:pt x="294" y="269"/>
                      <a:pt x="300" y="282"/>
                      <a:pt x="289" y="285"/>
                    </a:cubicBezTo>
                    <a:cubicBezTo>
                      <a:pt x="289" y="285"/>
                      <a:pt x="287" y="313"/>
                      <a:pt x="272" y="311"/>
                    </a:cubicBezTo>
                    <a:cubicBezTo>
                      <a:pt x="272" y="311"/>
                      <a:pt x="255" y="315"/>
                      <a:pt x="248" y="308"/>
                    </a:cubicBezTo>
                    <a:cubicBezTo>
                      <a:pt x="248" y="308"/>
                      <a:pt x="238" y="297"/>
                      <a:pt x="230" y="309"/>
                    </a:cubicBezTo>
                    <a:cubicBezTo>
                      <a:pt x="230" y="309"/>
                      <a:pt x="215" y="302"/>
                      <a:pt x="215" y="329"/>
                    </a:cubicBezTo>
                    <a:cubicBezTo>
                      <a:pt x="215" y="329"/>
                      <a:pt x="216" y="345"/>
                      <a:pt x="209" y="357"/>
                    </a:cubicBezTo>
                    <a:cubicBezTo>
                      <a:pt x="209" y="357"/>
                      <a:pt x="208" y="365"/>
                      <a:pt x="208" y="374"/>
                    </a:cubicBezTo>
                    <a:cubicBezTo>
                      <a:pt x="208" y="374"/>
                      <a:pt x="191" y="383"/>
                      <a:pt x="190" y="392"/>
                    </a:cubicBezTo>
                    <a:cubicBezTo>
                      <a:pt x="190" y="392"/>
                      <a:pt x="188" y="405"/>
                      <a:pt x="165" y="406"/>
                    </a:cubicBezTo>
                    <a:cubicBezTo>
                      <a:pt x="165" y="406"/>
                      <a:pt x="158" y="397"/>
                      <a:pt x="135" y="406"/>
                    </a:cubicBezTo>
                    <a:cubicBezTo>
                      <a:pt x="135" y="406"/>
                      <a:pt x="125" y="394"/>
                      <a:pt x="125" y="412"/>
                    </a:cubicBezTo>
                    <a:cubicBezTo>
                      <a:pt x="125" y="412"/>
                      <a:pt x="127" y="427"/>
                      <a:pt x="120" y="422"/>
                    </a:cubicBezTo>
                    <a:cubicBezTo>
                      <a:pt x="120" y="422"/>
                      <a:pt x="114" y="416"/>
                      <a:pt x="103" y="416"/>
                    </a:cubicBezTo>
                    <a:cubicBezTo>
                      <a:pt x="103" y="416"/>
                      <a:pt x="94" y="401"/>
                      <a:pt x="89" y="416"/>
                    </a:cubicBezTo>
                    <a:cubicBezTo>
                      <a:pt x="89" y="416"/>
                      <a:pt x="72" y="415"/>
                      <a:pt x="68" y="424"/>
                    </a:cubicBezTo>
                    <a:cubicBezTo>
                      <a:pt x="68" y="424"/>
                      <a:pt x="61" y="434"/>
                      <a:pt x="52" y="432"/>
                    </a:cubicBezTo>
                    <a:cubicBezTo>
                      <a:pt x="45" y="434"/>
                      <a:pt x="51" y="420"/>
                      <a:pt x="40" y="425"/>
                    </a:cubicBezTo>
                    <a:cubicBezTo>
                      <a:pt x="31" y="407"/>
                      <a:pt x="21" y="408"/>
                      <a:pt x="21" y="408"/>
                    </a:cubicBezTo>
                    <a:cubicBezTo>
                      <a:pt x="15" y="397"/>
                      <a:pt x="24" y="394"/>
                      <a:pt x="24" y="394"/>
                    </a:cubicBezTo>
                    <a:cubicBezTo>
                      <a:pt x="31" y="379"/>
                      <a:pt x="22" y="365"/>
                      <a:pt x="22" y="365"/>
                    </a:cubicBezTo>
                    <a:cubicBezTo>
                      <a:pt x="17" y="361"/>
                      <a:pt x="27" y="346"/>
                      <a:pt x="17" y="346"/>
                    </a:cubicBezTo>
                    <a:cubicBezTo>
                      <a:pt x="17" y="346"/>
                      <a:pt x="17" y="346"/>
                      <a:pt x="17" y="34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4" name="Freeform 48"/>
              <p:cNvSpPr>
                <a:spLocks/>
              </p:cNvSpPr>
              <p:nvPr/>
            </p:nvSpPr>
            <p:spPr bwMode="auto">
              <a:xfrm>
                <a:off x="3179119" y="2170624"/>
                <a:ext cx="938291" cy="953445"/>
              </a:xfrm>
              <a:custGeom>
                <a:avLst/>
                <a:gdLst>
                  <a:gd name="T0" fmla="*/ 2147483647 w 331"/>
                  <a:gd name="T1" fmla="*/ 2147483647 h 381"/>
                  <a:gd name="T2" fmla="*/ 2147483647 w 331"/>
                  <a:gd name="T3" fmla="*/ 2147483647 h 381"/>
                  <a:gd name="T4" fmla="*/ 2147483647 w 331"/>
                  <a:gd name="T5" fmla="*/ 2147483647 h 381"/>
                  <a:gd name="T6" fmla="*/ 2147483647 w 331"/>
                  <a:gd name="T7" fmla="*/ 2147483647 h 381"/>
                  <a:gd name="T8" fmla="*/ 2147483647 w 331"/>
                  <a:gd name="T9" fmla="*/ 2147483647 h 381"/>
                  <a:gd name="T10" fmla="*/ 2147483647 w 331"/>
                  <a:gd name="T11" fmla="*/ 2147483647 h 381"/>
                  <a:gd name="T12" fmla="*/ 2147483647 w 331"/>
                  <a:gd name="T13" fmla="*/ 2147483647 h 381"/>
                  <a:gd name="T14" fmla="*/ 2147483647 w 331"/>
                  <a:gd name="T15" fmla="*/ 2147483647 h 381"/>
                  <a:gd name="T16" fmla="*/ 2147483647 w 331"/>
                  <a:gd name="T17" fmla="*/ 2147483647 h 381"/>
                  <a:gd name="T18" fmla="*/ 2147483647 w 331"/>
                  <a:gd name="T19" fmla="*/ 2147483647 h 381"/>
                  <a:gd name="T20" fmla="*/ 2147483647 w 331"/>
                  <a:gd name="T21" fmla="*/ 2147483647 h 381"/>
                  <a:gd name="T22" fmla="*/ 2147483647 w 331"/>
                  <a:gd name="T23" fmla="*/ 2147483647 h 381"/>
                  <a:gd name="T24" fmla="*/ 2147483647 w 331"/>
                  <a:gd name="T25" fmla="*/ 2147483647 h 381"/>
                  <a:gd name="T26" fmla="*/ 2147483647 w 331"/>
                  <a:gd name="T27" fmla="*/ 2147483647 h 381"/>
                  <a:gd name="T28" fmla="*/ 2147483647 w 331"/>
                  <a:gd name="T29" fmla="*/ 2147483647 h 381"/>
                  <a:gd name="T30" fmla="*/ 2147483647 w 331"/>
                  <a:gd name="T31" fmla="*/ 2147483647 h 381"/>
                  <a:gd name="T32" fmla="*/ 2147483647 w 331"/>
                  <a:gd name="T33" fmla="*/ 2147483647 h 381"/>
                  <a:gd name="T34" fmla="*/ 2147483647 w 331"/>
                  <a:gd name="T35" fmla="*/ 2147483647 h 381"/>
                  <a:gd name="T36" fmla="*/ 2147483647 w 331"/>
                  <a:gd name="T37" fmla="*/ 2147483647 h 381"/>
                  <a:gd name="T38" fmla="*/ 2147483647 w 331"/>
                  <a:gd name="T39" fmla="*/ 2147483647 h 381"/>
                  <a:gd name="T40" fmla="*/ 2147483647 w 331"/>
                  <a:gd name="T41" fmla="*/ 2147483647 h 381"/>
                  <a:gd name="T42" fmla="*/ 2147483647 w 331"/>
                  <a:gd name="T43" fmla="*/ 2147483647 h 381"/>
                  <a:gd name="T44" fmla="*/ 2147483647 w 331"/>
                  <a:gd name="T45" fmla="*/ 2147483647 h 381"/>
                  <a:gd name="T46" fmla="*/ 2147483647 w 331"/>
                  <a:gd name="T47" fmla="*/ 2147483647 h 381"/>
                  <a:gd name="T48" fmla="*/ 2147483647 w 331"/>
                  <a:gd name="T49" fmla="*/ 2147483647 h 381"/>
                  <a:gd name="T50" fmla="*/ 2147483647 w 331"/>
                  <a:gd name="T51" fmla="*/ 2147483647 h 381"/>
                  <a:gd name="T52" fmla="*/ 2147483647 w 331"/>
                  <a:gd name="T53" fmla="*/ 2147483647 h 381"/>
                  <a:gd name="T54" fmla="*/ 2147483647 w 331"/>
                  <a:gd name="T55" fmla="*/ 2147483647 h 381"/>
                  <a:gd name="T56" fmla="*/ 2147483647 w 331"/>
                  <a:gd name="T57" fmla="*/ 2147483647 h 381"/>
                  <a:gd name="T58" fmla="*/ 2147483647 w 331"/>
                  <a:gd name="T59" fmla="*/ 2147483647 h 381"/>
                  <a:gd name="T60" fmla="*/ 2147483647 w 331"/>
                  <a:gd name="T61" fmla="*/ 2147483647 h 381"/>
                  <a:gd name="T62" fmla="*/ 2147483647 w 331"/>
                  <a:gd name="T63" fmla="*/ 2147483647 h 381"/>
                  <a:gd name="T64" fmla="*/ 2147483647 w 331"/>
                  <a:gd name="T65" fmla="*/ 2147483647 h 381"/>
                  <a:gd name="T66" fmla="*/ 2147483647 w 331"/>
                  <a:gd name="T67" fmla="*/ 2147483647 h 381"/>
                  <a:gd name="T68" fmla="*/ 2147483647 w 331"/>
                  <a:gd name="T69" fmla="*/ 2147483647 h 381"/>
                  <a:gd name="T70" fmla="*/ 2147483647 w 331"/>
                  <a:gd name="T71" fmla="*/ 2147483647 h 381"/>
                  <a:gd name="T72" fmla="*/ 2147483647 w 331"/>
                  <a:gd name="T73" fmla="*/ 2147483647 h 381"/>
                  <a:gd name="T74" fmla="*/ 2147483647 w 331"/>
                  <a:gd name="T75" fmla="*/ 2147483647 h 381"/>
                  <a:gd name="T76" fmla="*/ 2147483647 w 331"/>
                  <a:gd name="T77" fmla="*/ 2147483647 h 381"/>
                  <a:gd name="T78" fmla="*/ 2147483647 w 331"/>
                  <a:gd name="T79" fmla="*/ 2147483647 h 381"/>
                  <a:gd name="T80" fmla="*/ 2147483647 w 331"/>
                  <a:gd name="T81" fmla="*/ 2147483647 h 381"/>
                  <a:gd name="T82" fmla="*/ 2147483647 w 331"/>
                  <a:gd name="T83" fmla="*/ 2147483647 h 381"/>
                  <a:gd name="T84" fmla="*/ 2147483647 w 331"/>
                  <a:gd name="T85" fmla="*/ 2147483647 h 381"/>
                  <a:gd name="T86" fmla="*/ 2147483647 w 331"/>
                  <a:gd name="T87" fmla="*/ 2147483647 h 381"/>
                  <a:gd name="T88" fmla="*/ 2147483647 w 331"/>
                  <a:gd name="T89" fmla="*/ 2147483647 h 381"/>
                  <a:gd name="T90" fmla="*/ 2147483647 w 331"/>
                  <a:gd name="T91" fmla="*/ 2147483647 h 381"/>
                  <a:gd name="T92" fmla="*/ 2147483647 w 331"/>
                  <a:gd name="T93" fmla="*/ 2147483647 h 381"/>
                  <a:gd name="T94" fmla="*/ 2147483647 w 331"/>
                  <a:gd name="T95" fmla="*/ 2147483647 h 381"/>
                  <a:gd name="T96" fmla="*/ 2147483647 w 331"/>
                  <a:gd name="T97" fmla="*/ 2147483647 h 381"/>
                  <a:gd name="T98" fmla="*/ 2147483647 w 331"/>
                  <a:gd name="T99" fmla="*/ 2147483647 h 381"/>
                  <a:gd name="T100" fmla="*/ 2147483647 w 331"/>
                  <a:gd name="T101" fmla="*/ 2147483647 h 381"/>
                  <a:gd name="T102" fmla="*/ 2147483647 w 331"/>
                  <a:gd name="T103" fmla="*/ 2147483647 h 381"/>
                  <a:gd name="T104" fmla="*/ 2147483647 w 331"/>
                  <a:gd name="T105" fmla="*/ 2147483647 h 381"/>
                  <a:gd name="T106" fmla="*/ 2147483647 w 331"/>
                  <a:gd name="T107" fmla="*/ 2147483647 h 381"/>
                  <a:gd name="T108" fmla="*/ 2147483647 w 331"/>
                  <a:gd name="T109" fmla="*/ 2147483647 h 381"/>
                  <a:gd name="T110" fmla="*/ 2147483647 w 331"/>
                  <a:gd name="T111" fmla="*/ 2147483647 h 381"/>
                  <a:gd name="T112" fmla="*/ 2147483647 w 331"/>
                  <a:gd name="T113" fmla="*/ 2147483647 h 381"/>
                  <a:gd name="T114" fmla="*/ 2147483647 w 331"/>
                  <a:gd name="T115" fmla="*/ 2147483647 h 381"/>
                  <a:gd name="T116" fmla="*/ 2147483647 w 331"/>
                  <a:gd name="T117" fmla="*/ 2147483647 h 381"/>
                  <a:gd name="T118" fmla="*/ 2147483647 w 331"/>
                  <a:gd name="T119" fmla="*/ 2147483647 h 381"/>
                  <a:gd name="T120" fmla="*/ 2147483647 w 331"/>
                  <a:gd name="T121" fmla="*/ 2147483647 h 38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1"/>
                  <a:gd name="T184" fmla="*/ 0 h 381"/>
                  <a:gd name="T185" fmla="*/ 331 w 331"/>
                  <a:gd name="T186" fmla="*/ 381 h 38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1" h="381">
                    <a:moveTo>
                      <a:pt x="185" y="376"/>
                    </a:moveTo>
                    <a:cubicBezTo>
                      <a:pt x="177" y="374"/>
                      <a:pt x="186" y="360"/>
                      <a:pt x="175" y="364"/>
                    </a:cubicBezTo>
                    <a:cubicBezTo>
                      <a:pt x="159" y="350"/>
                      <a:pt x="176" y="341"/>
                      <a:pt x="176" y="341"/>
                    </a:cubicBezTo>
                    <a:cubicBezTo>
                      <a:pt x="164" y="343"/>
                      <a:pt x="161" y="334"/>
                      <a:pt x="161" y="334"/>
                    </a:cubicBezTo>
                    <a:cubicBezTo>
                      <a:pt x="149" y="317"/>
                      <a:pt x="146" y="335"/>
                      <a:pt x="146" y="335"/>
                    </a:cubicBezTo>
                    <a:cubicBezTo>
                      <a:pt x="146" y="340"/>
                      <a:pt x="136" y="335"/>
                      <a:pt x="131" y="343"/>
                    </a:cubicBezTo>
                    <a:cubicBezTo>
                      <a:pt x="100" y="354"/>
                      <a:pt x="86" y="342"/>
                      <a:pt x="86" y="342"/>
                    </a:cubicBezTo>
                    <a:cubicBezTo>
                      <a:pt x="76" y="338"/>
                      <a:pt x="78" y="324"/>
                      <a:pt x="78" y="324"/>
                    </a:cubicBezTo>
                    <a:cubicBezTo>
                      <a:pt x="78" y="318"/>
                      <a:pt x="73" y="312"/>
                      <a:pt x="73" y="312"/>
                    </a:cubicBezTo>
                    <a:cubicBezTo>
                      <a:pt x="65" y="297"/>
                      <a:pt x="51" y="302"/>
                      <a:pt x="51" y="302"/>
                    </a:cubicBezTo>
                    <a:cubicBezTo>
                      <a:pt x="23" y="306"/>
                      <a:pt x="29" y="295"/>
                      <a:pt x="29" y="295"/>
                    </a:cubicBezTo>
                    <a:cubicBezTo>
                      <a:pt x="36" y="285"/>
                      <a:pt x="25" y="281"/>
                      <a:pt x="25" y="281"/>
                    </a:cubicBezTo>
                    <a:cubicBezTo>
                      <a:pt x="14" y="281"/>
                      <a:pt x="17" y="268"/>
                      <a:pt x="17" y="268"/>
                    </a:cubicBezTo>
                    <a:cubicBezTo>
                      <a:pt x="19" y="256"/>
                      <a:pt x="5" y="258"/>
                      <a:pt x="5" y="258"/>
                    </a:cubicBezTo>
                    <a:cubicBezTo>
                      <a:pt x="5" y="258"/>
                      <a:pt x="5" y="258"/>
                      <a:pt x="5" y="258"/>
                    </a:cubicBezTo>
                    <a:cubicBezTo>
                      <a:pt x="6" y="237"/>
                      <a:pt x="6" y="237"/>
                      <a:pt x="6" y="23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7" y="207"/>
                      <a:pt x="7" y="207"/>
                    </a:cubicBezTo>
                    <a:cubicBezTo>
                      <a:pt x="7" y="207"/>
                      <a:pt x="6" y="197"/>
                      <a:pt x="14" y="200"/>
                    </a:cubicBezTo>
                    <a:cubicBezTo>
                      <a:pt x="23" y="182"/>
                      <a:pt x="7" y="182"/>
                      <a:pt x="11" y="163"/>
                    </a:cubicBezTo>
                    <a:cubicBezTo>
                      <a:pt x="11" y="163"/>
                      <a:pt x="0" y="155"/>
                      <a:pt x="14" y="130"/>
                    </a:cubicBezTo>
                    <a:cubicBezTo>
                      <a:pt x="22" y="124"/>
                      <a:pt x="18" y="108"/>
                      <a:pt x="29" y="97"/>
                    </a:cubicBezTo>
                    <a:cubicBezTo>
                      <a:pt x="39" y="92"/>
                      <a:pt x="36" y="83"/>
                      <a:pt x="43" y="82"/>
                    </a:cubicBezTo>
                    <a:cubicBezTo>
                      <a:pt x="43" y="82"/>
                      <a:pt x="53" y="75"/>
                      <a:pt x="52" y="66"/>
                    </a:cubicBezTo>
                    <a:cubicBezTo>
                      <a:pt x="52" y="66"/>
                      <a:pt x="47" y="53"/>
                      <a:pt x="78" y="60"/>
                    </a:cubicBezTo>
                    <a:cubicBezTo>
                      <a:pt x="78" y="60"/>
                      <a:pt x="89" y="75"/>
                      <a:pt x="91" y="59"/>
                    </a:cubicBezTo>
                    <a:cubicBezTo>
                      <a:pt x="91" y="59"/>
                      <a:pt x="97" y="45"/>
                      <a:pt x="131" y="56"/>
                    </a:cubicBezTo>
                    <a:cubicBezTo>
                      <a:pt x="131" y="56"/>
                      <a:pt x="159" y="52"/>
                      <a:pt x="161" y="61"/>
                    </a:cubicBezTo>
                    <a:cubicBezTo>
                      <a:pt x="161" y="61"/>
                      <a:pt x="155" y="71"/>
                      <a:pt x="176" y="65"/>
                    </a:cubicBezTo>
                    <a:cubicBezTo>
                      <a:pt x="176" y="65"/>
                      <a:pt x="183" y="69"/>
                      <a:pt x="203" y="52"/>
                    </a:cubicBezTo>
                    <a:cubicBezTo>
                      <a:pt x="203" y="38"/>
                      <a:pt x="209" y="38"/>
                      <a:pt x="210" y="24"/>
                    </a:cubicBezTo>
                    <a:cubicBezTo>
                      <a:pt x="210" y="24"/>
                      <a:pt x="200" y="7"/>
                      <a:pt x="231" y="16"/>
                    </a:cubicBezTo>
                    <a:cubicBezTo>
                      <a:pt x="231" y="16"/>
                      <a:pt x="249" y="28"/>
                      <a:pt x="257" y="24"/>
                    </a:cubicBezTo>
                    <a:cubicBezTo>
                      <a:pt x="273" y="24"/>
                      <a:pt x="270" y="27"/>
                      <a:pt x="295" y="8"/>
                    </a:cubicBezTo>
                    <a:cubicBezTo>
                      <a:pt x="295" y="8"/>
                      <a:pt x="296" y="0"/>
                      <a:pt x="327" y="4"/>
                    </a:cubicBezTo>
                    <a:cubicBezTo>
                      <a:pt x="322" y="11"/>
                      <a:pt x="319" y="24"/>
                      <a:pt x="319" y="24"/>
                    </a:cubicBezTo>
                    <a:cubicBezTo>
                      <a:pt x="309" y="46"/>
                      <a:pt x="318" y="49"/>
                      <a:pt x="318" y="49"/>
                    </a:cubicBezTo>
                    <a:cubicBezTo>
                      <a:pt x="330" y="53"/>
                      <a:pt x="330" y="61"/>
                      <a:pt x="330" y="61"/>
                    </a:cubicBezTo>
                    <a:cubicBezTo>
                      <a:pt x="331" y="65"/>
                      <a:pt x="318" y="59"/>
                      <a:pt x="321" y="71"/>
                    </a:cubicBezTo>
                    <a:cubicBezTo>
                      <a:pt x="317" y="75"/>
                      <a:pt x="319" y="79"/>
                      <a:pt x="319" y="79"/>
                    </a:cubicBezTo>
                    <a:cubicBezTo>
                      <a:pt x="322" y="90"/>
                      <a:pt x="307" y="87"/>
                      <a:pt x="307" y="87"/>
                    </a:cubicBezTo>
                    <a:cubicBezTo>
                      <a:pt x="296" y="90"/>
                      <a:pt x="292" y="103"/>
                      <a:pt x="292" y="103"/>
                    </a:cubicBezTo>
                    <a:cubicBezTo>
                      <a:pt x="278" y="114"/>
                      <a:pt x="295" y="132"/>
                      <a:pt x="295" y="132"/>
                    </a:cubicBezTo>
                    <a:cubicBezTo>
                      <a:pt x="300" y="132"/>
                      <a:pt x="297" y="151"/>
                      <a:pt x="297" y="151"/>
                    </a:cubicBezTo>
                    <a:cubicBezTo>
                      <a:pt x="305" y="162"/>
                      <a:pt x="292" y="158"/>
                      <a:pt x="293" y="175"/>
                    </a:cubicBezTo>
                    <a:cubicBezTo>
                      <a:pt x="297" y="191"/>
                      <a:pt x="285" y="189"/>
                      <a:pt x="285" y="189"/>
                    </a:cubicBezTo>
                    <a:cubicBezTo>
                      <a:pt x="291" y="206"/>
                      <a:pt x="289" y="216"/>
                      <a:pt x="289" y="216"/>
                    </a:cubicBezTo>
                    <a:cubicBezTo>
                      <a:pt x="287" y="222"/>
                      <a:pt x="275" y="217"/>
                      <a:pt x="278" y="230"/>
                    </a:cubicBezTo>
                    <a:cubicBezTo>
                      <a:pt x="274" y="240"/>
                      <a:pt x="285" y="243"/>
                      <a:pt x="285" y="243"/>
                    </a:cubicBezTo>
                    <a:cubicBezTo>
                      <a:pt x="291" y="240"/>
                      <a:pt x="287" y="252"/>
                      <a:pt x="294" y="251"/>
                    </a:cubicBezTo>
                    <a:cubicBezTo>
                      <a:pt x="300" y="251"/>
                      <a:pt x="297" y="244"/>
                      <a:pt x="306" y="245"/>
                    </a:cubicBezTo>
                    <a:cubicBezTo>
                      <a:pt x="296" y="258"/>
                      <a:pt x="306" y="264"/>
                      <a:pt x="306" y="264"/>
                    </a:cubicBezTo>
                    <a:cubicBezTo>
                      <a:pt x="305" y="274"/>
                      <a:pt x="296" y="276"/>
                      <a:pt x="297" y="284"/>
                    </a:cubicBezTo>
                    <a:cubicBezTo>
                      <a:pt x="296" y="291"/>
                      <a:pt x="306" y="299"/>
                      <a:pt x="300" y="309"/>
                    </a:cubicBezTo>
                    <a:cubicBezTo>
                      <a:pt x="300" y="327"/>
                      <a:pt x="292" y="339"/>
                      <a:pt x="292" y="339"/>
                    </a:cubicBezTo>
                    <a:cubicBezTo>
                      <a:pt x="292" y="347"/>
                      <a:pt x="279" y="357"/>
                      <a:pt x="279" y="357"/>
                    </a:cubicBezTo>
                    <a:cubicBezTo>
                      <a:pt x="270" y="371"/>
                      <a:pt x="259" y="368"/>
                      <a:pt x="259" y="368"/>
                    </a:cubicBezTo>
                    <a:cubicBezTo>
                      <a:pt x="237" y="377"/>
                      <a:pt x="227" y="368"/>
                      <a:pt x="227" y="368"/>
                    </a:cubicBezTo>
                    <a:cubicBezTo>
                      <a:pt x="217" y="358"/>
                      <a:pt x="205" y="368"/>
                      <a:pt x="205" y="368"/>
                    </a:cubicBezTo>
                    <a:cubicBezTo>
                      <a:pt x="197" y="381"/>
                      <a:pt x="185" y="376"/>
                      <a:pt x="185" y="376"/>
                    </a:cubicBezTo>
                    <a:cubicBezTo>
                      <a:pt x="185" y="376"/>
                      <a:pt x="185" y="376"/>
                      <a:pt x="185" y="376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5" name="Freeform 47"/>
              <p:cNvSpPr>
                <a:spLocks/>
              </p:cNvSpPr>
              <p:nvPr/>
            </p:nvSpPr>
            <p:spPr bwMode="auto">
              <a:xfrm>
                <a:off x="3955268" y="2149410"/>
                <a:ext cx="914368" cy="1046550"/>
              </a:xfrm>
              <a:custGeom>
                <a:avLst/>
                <a:gdLst>
                  <a:gd name="T0" fmla="*/ 2147483647 w 323"/>
                  <a:gd name="T1" fmla="*/ 2147483647 h 419"/>
                  <a:gd name="T2" fmla="*/ 2147483647 w 323"/>
                  <a:gd name="T3" fmla="*/ 2147483647 h 419"/>
                  <a:gd name="T4" fmla="*/ 2147483647 w 323"/>
                  <a:gd name="T5" fmla="*/ 2147483647 h 419"/>
                  <a:gd name="T6" fmla="*/ 2147483647 w 323"/>
                  <a:gd name="T7" fmla="*/ 2147483647 h 419"/>
                  <a:gd name="T8" fmla="*/ 2147483647 w 323"/>
                  <a:gd name="T9" fmla="*/ 2147483647 h 419"/>
                  <a:gd name="T10" fmla="*/ 2147483647 w 323"/>
                  <a:gd name="T11" fmla="*/ 2147483647 h 419"/>
                  <a:gd name="T12" fmla="*/ 2147483647 w 323"/>
                  <a:gd name="T13" fmla="*/ 2147483647 h 419"/>
                  <a:gd name="T14" fmla="*/ 2147483647 w 323"/>
                  <a:gd name="T15" fmla="*/ 2147483647 h 419"/>
                  <a:gd name="T16" fmla="*/ 2147483647 w 323"/>
                  <a:gd name="T17" fmla="*/ 2147483647 h 419"/>
                  <a:gd name="T18" fmla="*/ 2147483647 w 323"/>
                  <a:gd name="T19" fmla="*/ 2147483647 h 419"/>
                  <a:gd name="T20" fmla="*/ 2147483647 w 323"/>
                  <a:gd name="T21" fmla="*/ 2147483647 h 419"/>
                  <a:gd name="T22" fmla="*/ 2147483647 w 323"/>
                  <a:gd name="T23" fmla="*/ 2147483647 h 419"/>
                  <a:gd name="T24" fmla="*/ 2147483647 w 323"/>
                  <a:gd name="T25" fmla="*/ 2147483647 h 419"/>
                  <a:gd name="T26" fmla="*/ 2147483647 w 323"/>
                  <a:gd name="T27" fmla="*/ 2147483647 h 419"/>
                  <a:gd name="T28" fmla="*/ 2147483647 w 323"/>
                  <a:gd name="T29" fmla="*/ 2147483647 h 419"/>
                  <a:gd name="T30" fmla="*/ 2147483647 w 323"/>
                  <a:gd name="T31" fmla="*/ 2147483647 h 419"/>
                  <a:gd name="T32" fmla="*/ 2147483647 w 323"/>
                  <a:gd name="T33" fmla="*/ 2147483647 h 419"/>
                  <a:gd name="T34" fmla="*/ 2147483647 w 323"/>
                  <a:gd name="T35" fmla="*/ 2147483647 h 419"/>
                  <a:gd name="T36" fmla="*/ 2147483647 w 323"/>
                  <a:gd name="T37" fmla="*/ 2147483647 h 419"/>
                  <a:gd name="T38" fmla="*/ 2147483647 w 323"/>
                  <a:gd name="T39" fmla="*/ 2147483647 h 419"/>
                  <a:gd name="T40" fmla="*/ 2147483647 w 323"/>
                  <a:gd name="T41" fmla="*/ 2147483647 h 419"/>
                  <a:gd name="T42" fmla="*/ 2147483647 w 323"/>
                  <a:gd name="T43" fmla="*/ 2147483647 h 419"/>
                  <a:gd name="T44" fmla="*/ 2147483647 w 323"/>
                  <a:gd name="T45" fmla="*/ 2147483647 h 419"/>
                  <a:gd name="T46" fmla="*/ 2147483647 w 323"/>
                  <a:gd name="T47" fmla="*/ 2147483647 h 419"/>
                  <a:gd name="T48" fmla="*/ 2147483647 w 323"/>
                  <a:gd name="T49" fmla="*/ 2147483647 h 419"/>
                  <a:gd name="T50" fmla="*/ 2147483647 w 323"/>
                  <a:gd name="T51" fmla="*/ 2147483647 h 419"/>
                  <a:gd name="T52" fmla="*/ 2147483647 w 323"/>
                  <a:gd name="T53" fmla="*/ 2147483647 h 419"/>
                  <a:gd name="T54" fmla="*/ 2147483647 w 323"/>
                  <a:gd name="T55" fmla="*/ 2147483647 h 419"/>
                  <a:gd name="T56" fmla="*/ 2147483647 w 323"/>
                  <a:gd name="T57" fmla="*/ 2147483647 h 419"/>
                  <a:gd name="T58" fmla="*/ 2147483647 w 323"/>
                  <a:gd name="T59" fmla="*/ 2147483647 h 419"/>
                  <a:gd name="T60" fmla="*/ 2147483647 w 323"/>
                  <a:gd name="T61" fmla="*/ 2147483647 h 419"/>
                  <a:gd name="T62" fmla="*/ 2147483647 w 323"/>
                  <a:gd name="T63" fmla="*/ 2147483647 h 419"/>
                  <a:gd name="T64" fmla="*/ 2147483647 w 323"/>
                  <a:gd name="T65" fmla="*/ 2147483647 h 41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3"/>
                  <a:gd name="T100" fmla="*/ 0 h 419"/>
                  <a:gd name="T101" fmla="*/ 323 w 323"/>
                  <a:gd name="T102" fmla="*/ 419 h 41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3" h="419">
                    <a:moveTo>
                      <a:pt x="53" y="13"/>
                    </a:moveTo>
                    <a:cubicBezTo>
                      <a:pt x="48" y="20"/>
                      <a:pt x="45" y="33"/>
                      <a:pt x="45" y="33"/>
                    </a:cubicBezTo>
                    <a:cubicBezTo>
                      <a:pt x="35" y="55"/>
                      <a:pt x="44" y="58"/>
                      <a:pt x="44" y="58"/>
                    </a:cubicBezTo>
                    <a:cubicBezTo>
                      <a:pt x="56" y="62"/>
                      <a:pt x="56" y="70"/>
                      <a:pt x="56" y="70"/>
                    </a:cubicBezTo>
                    <a:cubicBezTo>
                      <a:pt x="57" y="74"/>
                      <a:pt x="44" y="68"/>
                      <a:pt x="47" y="80"/>
                    </a:cubicBezTo>
                    <a:cubicBezTo>
                      <a:pt x="43" y="84"/>
                      <a:pt x="45" y="88"/>
                      <a:pt x="45" y="88"/>
                    </a:cubicBezTo>
                    <a:cubicBezTo>
                      <a:pt x="48" y="99"/>
                      <a:pt x="33" y="96"/>
                      <a:pt x="33" y="96"/>
                    </a:cubicBezTo>
                    <a:cubicBezTo>
                      <a:pt x="22" y="99"/>
                      <a:pt x="18" y="112"/>
                      <a:pt x="18" y="112"/>
                    </a:cubicBezTo>
                    <a:cubicBezTo>
                      <a:pt x="4" y="123"/>
                      <a:pt x="21" y="141"/>
                      <a:pt x="21" y="141"/>
                    </a:cubicBezTo>
                    <a:cubicBezTo>
                      <a:pt x="26" y="141"/>
                      <a:pt x="23" y="160"/>
                      <a:pt x="23" y="160"/>
                    </a:cubicBezTo>
                    <a:cubicBezTo>
                      <a:pt x="31" y="171"/>
                      <a:pt x="18" y="167"/>
                      <a:pt x="19" y="184"/>
                    </a:cubicBezTo>
                    <a:cubicBezTo>
                      <a:pt x="23" y="200"/>
                      <a:pt x="11" y="198"/>
                      <a:pt x="11" y="198"/>
                    </a:cubicBezTo>
                    <a:cubicBezTo>
                      <a:pt x="17" y="215"/>
                      <a:pt x="15" y="225"/>
                      <a:pt x="15" y="225"/>
                    </a:cubicBezTo>
                    <a:cubicBezTo>
                      <a:pt x="13" y="231"/>
                      <a:pt x="1" y="226"/>
                      <a:pt x="4" y="239"/>
                    </a:cubicBezTo>
                    <a:cubicBezTo>
                      <a:pt x="0" y="249"/>
                      <a:pt x="11" y="252"/>
                      <a:pt x="11" y="252"/>
                    </a:cubicBezTo>
                    <a:cubicBezTo>
                      <a:pt x="17" y="249"/>
                      <a:pt x="13" y="261"/>
                      <a:pt x="20" y="260"/>
                    </a:cubicBezTo>
                    <a:cubicBezTo>
                      <a:pt x="26" y="260"/>
                      <a:pt x="23" y="253"/>
                      <a:pt x="32" y="254"/>
                    </a:cubicBezTo>
                    <a:cubicBezTo>
                      <a:pt x="22" y="267"/>
                      <a:pt x="32" y="273"/>
                      <a:pt x="32" y="273"/>
                    </a:cubicBezTo>
                    <a:cubicBezTo>
                      <a:pt x="31" y="283"/>
                      <a:pt x="22" y="285"/>
                      <a:pt x="23" y="293"/>
                    </a:cubicBezTo>
                    <a:cubicBezTo>
                      <a:pt x="22" y="300"/>
                      <a:pt x="32" y="308"/>
                      <a:pt x="26" y="318"/>
                    </a:cubicBezTo>
                    <a:cubicBezTo>
                      <a:pt x="26" y="336"/>
                      <a:pt x="18" y="348"/>
                      <a:pt x="18" y="348"/>
                    </a:cubicBezTo>
                    <a:cubicBezTo>
                      <a:pt x="32" y="355"/>
                      <a:pt x="35" y="348"/>
                      <a:pt x="35" y="348"/>
                    </a:cubicBezTo>
                    <a:cubicBezTo>
                      <a:pt x="41" y="341"/>
                      <a:pt x="55" y="352"/>
                      <a:pt x="55" y="352"/>
                    </a:cubicBezTo>
                    <a:cubicBezTo>
                      <a:pt x="59" y="355"/>
                      <a:pt x="84" y="351"/>
                      <a:pt x="90" y="355"/>
                    </a:cubicBezTo>
                    <a:cubicBezTo>
                      <a:pt x="107" y="359"/>
                      <a:pt x="107" y="352"/>
                      <a:pt x="107" y="352"/>
                    </a:cubicBezTo>
                    <a:cubicBezTo>
                      <a:pt x="115" y="339"/>
                      <a:pt x="123" y="352"/>
                      <a:pt x="123" y="352"/>
                    </a:cubicBezTo>
                    <a:cubicBezTo>
                      <a:pt x="133" y="361"/>
                      <a:pt x="138" y="352"/>
                      <a:pt x="138" y="352"/>
                    </a:cubicBezTo>
                    <a:cubicBezTo>
                      <a:pt x="139" y="341"/>
                      <a:pt x="155" y="342"/>
                      <a:pt x="155" y="342"/>
                    </a:cubicBezTo>
                    <a:cubicBezTo>
                      <a:pt x="154" y="366"/>
                      <a:pt x="165" y="369"/>
                      <a:pt x="165" y="369"/>
                    </a:cubicBezTo>
                    <a:cubicBezTo>
                      <a:pt x="172" y="377"/>
                      <a:pt x="173" y="391"/>
                      <a:pt x="173" y="391"/>
                    </a:cubicBezTo>
                    <a:cubicBezTo>
                      <a:pt x="180" y="388"/>
                      <a:pt x="180" y="398"/>
                      <a:pt x="180" y="398"/>
                    </a:cubicBezTo>
                    <a:cubicBezTo>
                      <a:pt x="193" y="403"/>
                      <a:pt x="183" y="407"/>
                      <a:pt x="183" y="407"/>
                    </a:cubicBezTo>
                    <a:cubicBezTo>
                      <a:pt x="178" y="418"/>
                      <a:pt x="191" y="417"/>
                      <a:pt x="191" y="417"/>
                    </a:cubicBezTo>
                    <a:cubicBezTo>
                      <a:pt x="205" y="419"/>
                      <a:pt x="212" y="410"/>
                      <a:pt x="212" y="410"/>
                    </a:cubicBezTo>
                    <a:cubicBezTo>
                      <a:pt x="224" y="403"/>
                      <a:pt x="235" y="409"/>
                      <a:pt x="235" y="409"/>
                    </a:cubicBezTo>
                    <a:cubicBezTo>
                      <a:pt x="242" y="399"/>
                      <a:pt x="253" y="400"/>
                      <a:pt x="253" y="400"/>
                    </a:cubicBezTo>
                    <a:cubicBezTo>
                      <a:pt x="258" y="388"/>
                      <a:pt x="272" y="392"/>
                      <a:pt x="272" y="392"/>
                    </a:cubicBezTo>
                    <a:cubicBezTo>
                      <a:pt x="275" y="377"/>
                      <a:pt x="296" y="370"/>
                      <a:pt x="300" y="376"/>
                    </a:cubicBezTo>
                    <a:cubicBezTo>
                      <a:pt x="304" y="370"/>
                      <a:pt x="323" y="378"/>
                      <a:pt x="323" y="364"/>
                    </a:cubicBezTo>
                    <a:cubicBezTo>
                      <a:pt x="318" y="364"/>
                      <a:pt x="313" y="361"/>
                      <a:pt x="313" y="361"/>
                    </a:cubicBezTo>
                    <a:cubicBezTo>
                      <a:pt x="312" y="341"/>
                      <a:pt x="303" y="344"/>
                      <a:pt x="303" y="344"/>
                    </a:cubicBezTo>
                    <a:cubicBezTo>
                      <a:pt x="290" y="341"/>
                      <a:pt x="293" y="322"/>
                      <a:pt x="293" y="322"/>
                    </a:cubicBezTo>
                    <a:cubicBezTo>
                      <a:pt x="281" y="311"/>
                      <a:pt x="297" y="315"/>
                      <a:pt x="296" y="300"/>
                    </a:cubicBezTo>
                    <a:cubicBezTo>
                      <a:pt x="296" y="289"/>
                      <a:pt x="287" y="287"/>
                      <a:pt x="288" y="283"/>
                    </a:cubicBezTo>
                    <a:cubicBezTo>
                      <a:pt x="279" y="276"/>
                      <a:pt x="279" y="263"/>
                      <a:pt x="279" y="263"/>
                    </a:cubicBezTo>
                    <a:cubicBezTo>
                      <a:pt x="269" y="255"/>
                      <a:pt x="276" y="248"/>
                      <a:pt x="276" y="248"/>
                    </a:cubicBezTo>
                    <a:cubicBezTo>
                      <a:pt x="285" y="240"/>
                      <a:pt x="268" y="242"/>
                      <a:pt x="268" y="242"/>
                    </a:cubicBezTo>
                    <a:cubicBezTo>
                      <a:pt x="257" y="248"/>
                      <a:pt x="254" y="229"/>
                      <a:pt x="254" y="229"/>
                    </a:cubicBezTo>
                    <a:cubicBezTo>
                      <a:pt x="254" y="205"/>
                      <a:pt x="231" y="215"/>
                      <a:pt x="231" y="215"/>
                    </a:cubicBezTo>
                    <a:cubicBezTo>
                      <a:pt x="215" y="227"/>
                      <a:pt x="198" y="218"/>
                      <a:pt x="198" y="218"/>
                    </a:cubicBezTo>
                    <a:cubicBezTo>
                      <a:pt x="192" y="207"/>
                      <a:pt x="180" y="211"/>
                      <a:pt x="180" y="211"/>
                    </a:cubicBezTo>
                    <a:cubicBezTo>
                      <a:pt x="172" y="202"/>
                      <a:pt x="164" y="211"/>
                      <a:pt x="164" y="211"/>
                    </a:cubicBezTo>
                    <a:cubicBezTo>
                      <a:pt x="139" y="217"/>
                      <a:pt x="154" y="205"/>
                      <a:pt x="154" y="205"/>
                    </a:cubicBezTo>
                    <a:cubicBezTo>
                      <a:pt x="164" y="187"/>
                      <a:pt x="150" y="189"/>
                      <a:pt x="150" y="189"/>
                    </a:cubicBezTo>
                    <a:cubicBezTo>
                      <a:pt x="144" y="190"/>
                      <a:pt x="149" y="168"/>
                      <a:pt x="149" y="168"/>
                    </a:cubicBezTo>
                    <a:cubicBezTo>
                      <a:pt x="149" y="155"/>
                      <a:pt x="138" y="145"/>
                      <a:pt x="138" y="145"/>
                    </a:cubicBezTo>
                    <a:cubicBezTo>
                      <a:pt x="124" y="134"/>
                      <a:pt x="150" y="128"/>
                      <a:pt x="150" y="128"/>
                    </a:cubicBezTo>
                    <a:cubicBezTo>
                      <a:pt x="169" y="128"/>
                      <a:pt x="168" y="116"/>
                      <a:pt x="168" y="116"/>
                    </a:cubicBezTo>
                    <a:cubicBezTo>
                      <a:pt x="169" y="106"/>
                      <a:pt x="149" y="95"/>
                      <a:pt x="149" y="95"/>
                    </a:cubicBezTo>
                    <a:cubicBezTo>
                      <a:pt x="129" y="84"/>
                      <a:pt x="127" y="69"/>
                      <a:pt x="127" y="69"/>
                    </a:cubicBezTo>
                    <a:cubicBezTo>
                      <a:pt x="118" y="55"/>
                      <a:pt x="139" y="51"/>
                      <a:pt x="119" y="40"/>
                    </a:cubicBezTo>
                    <a:cubicBezTo>
                      <a:pt x="109" y="40"/>
                      <a:pt x="102" y="20"/>
                      <a:pt x="102" y="20"/>
                    </a:cubicBezTo>
                    <a:cubicBezTo>
                      <a:pt x="92" y="0"/>
                      <a:pt x="84" y="13"/>
                      <a:pt x="84" y="13"/>
                    </a:cubicBezTo>
                    <a:cubicBezTo>
                      <a:pt x="73" y="13"/>
                      <a:pt x="66" y="26"/>
                      <a:pt x="66" y="26"/>
                    </a:cubicBezTo>
                    <a:cubicBezTo>
                      <a:pt x="58" y="29"/>
                      <a:pt x="68" y="10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6" name="Freeform 46"/>
              <p:cNvSpPr>
                <a:spLocks/>
              </p:cNvSpPr>
              <p:nvPr/>
            </p:nvSpPr>
            <p:spPr bwMode="auto">
              <a:xfrm>
                <a:off x="3697437" y="2995607"/>
                <a:ext cx="1133657" cy="828519"/>
              </a:xfrm>
              <a:custGeom>
                <a:avLst/>
                <a:gdLst>
                  <a:gd name="T0" fmla="*/ 2147483647 w 400"/>
                  <a:gd name="T1" fmla="*/ 2147483647 h 331"/>
                  <a:gd name="T2" fmla="*/ 2147483647 w 400"/>
                  <a:gd name="T3" fmla="*/ 2147483647 h 331"/>
                  <a:gd name="T4" fmla="*/ 2147483647 w 400"/>
                  <a:gd name="T5" fmla="*/ 2147483647 h 331"/>
                  <a:gd name="T6" fmla="*/ 2147483647 w 400"/>
                  <a:gd name="T7" fmla="*/ 2147483647 h 331"/>
                  <a:gd name="T8" fmla="*/ 2147483647 w 400"/>
                  <a:gd name="T9" fmla="*/ 2147483647 h 331"/>
                  <a:gd name="T10" fmla="*/ 2147483647 w 400"/>
                  <a:gd name="T11" fmla="*/ 2147483647 h 331"/>
                  <a:gd name="T12" fmla="*/ 2147483647 w 400"/>
                  <a:gd name="T13" fmla="*/ 2147483647 h 331"/>
                  <a:gd name="T14" fmla="*/ 2147483647 w 400"/>
                  <a:gd name="T15" fmla="*/ 2147483647 h 331"/>
                  <a:gd name="T16" fmla="*/ 2147483647 w 400"/>
                  <a:gd name="T17" fmla="*/ 2147483647 h 331"/>
                  <a:gd name="T18" fmla="*/ 2147483647 w 400"/>
                  <a:gd name="T19" fmla="*/ 2147483647 h 331"/>
                  <a:gd name="T20" fmla="*/ 2147483647 w 400"/>
                  <a:gd name="T21" fmla="*/ 2147483647 h 331"/>
                  <a:gd name="T22" fmla="*/ 2147483647 w 400"/>
                  <a:gd name="T23" fmla="*/ 2147483647 h 331"/>
                  <a:gd name="T24" fmla="*/ 2147483647 w 400"/>
                  <a:gd name="T25" fmla="*/ 2147483647 h 331"/>
                  <a:gd name="T26" fmla="*/ 2147483647 w 400"/>
                  <a:gd name="T27" fmla="*/ 2147483647 h 331"/>
                  <a:gd name="T28" fmla="*/ 2147483647 w 400"/>
                  <a:gd name="T29" fmla="*/ 2147483647 h 331"/>
                  <a:gd name="T30" fmla="*/ 2147483647 w 400"/>
                  <a:gd name="T31" fmla="*/ 2147483647 h 331"/>
                  <a:gd name="T32" fmla="*/ 2147483647 w 400"/>
                  <a:gd name="T33" fmla="*/ 2147483647 h 331"/>
                  <a:gd name="T34" fmla="*/ 2147483647 w 400"/>
                  <a:gd name="T35" fmla="*/ 2147483647 h 331"/>
                  <a:gd name="T36" fmla="*/ 2147483647 w 400"/>
                  <a:gd name="T37" fmla="*/ 2147483647 h 331"/>
                  <a:gd name="T38" fmla="*/ 2147483647 w 400"/>
                  <a:gd name="T39" fmla="*/ 2147483647 h 331"/>
                  <a:gd name="T40" fmla="*/ 2147483647 w 400"/>
                  <a:gd name="T41" fmla="*/ 2147483647 h 331"/>
                  <a:gd name="T42" fmla="*/ 2147483647 w 400"/>
                  <a:gd name="T43" fmla="*/ 2147483647 h 331"/>
                  <a:gd name="T44" fmla="*/ 2147483647 w 400"/>
                  <a:gd name="T45" fmla="*/ 2147483647 h 331"/>
                  <a:gd name="T46" fmla="*/ 2147483647 w 400"/>
                  <a:gd name="T47" fmla="*/ 2147483647 h 331"/>
                  <a:gd name="T48" fmla="*/ 2147483647 w 400"/>
                  <a:gd name="T49" fmla="*/ 2147483647 h 331"/>
                  <a:gd name="T50" fmla="*/ 2147483647 w 400"/>
                  <a:gd name="T51" fmla="*/ 2147483647 h 331"/>
                  <a:gd name="T52" fmla="*/ 2147483647 w 400"/>
                  <a:gd name="T53" fmla="*/ 2147483647 h 331"/>
                  <a:gd name="T54" fmla="*/ 2147483647 w 400"/>
                  <a:gd name="T55" fmla="*/ 2147483647 h 331"/>
                  <a:gd name="T56" fmla="*/ 2147483647 w 400"/>
                  <a:gd name="T57" fmla="*/ 2147483647 h 331"/>
                  <a:gd name="T58" fmla="*/ 2147483647 w 400"/>
                  <a:gd name="T59" fmla="*/ 2147483647 h 331"/>
                  <a:gd name="T60" fmla="*/ 2147483647 w 400"/>
                  <a:gd name="T61" fmla="*/ 2147483647 h 331"/>
                  <a:gd name="T62" fmla="*/ 2147483647 w 400"/>
                  <a:gd name="T63" fmla="*/ 2147483647 h 331"/>
                  <a:gd name="T64" fmla="*/ 2147483647 w 400"/>
                  <a:gd name="T65" fmla="*/ 2147483647 h 331"/>
                  <a:gd name="T66" fmla="*/ 2147483647 w 400"/>
                  <a:gd name="T67" fmla="*/ 2147483647 h 331"/>
                  <a:gd name="T68" fmla="*/ 2147483647 w 400"/>
                  <a:gd name="T69" fmla="*/ 2147483647 h 331"/>
                  <a:gd name="T70" fmla="*/ 0 w 400"/>
                  <a:gd name="T71" fmla="*/ 2147483647 h 331"/>
                  <a:gd name="T72" fmla="*/ 2147483647 w 400"/>
                  <a:gd name="T73" fmla="*/ 2147483647 h 331"/>
                  <a:gd name="T74" fmla="*/ 2147483647 w 400"/>
                  <a:gd name="T75" fmla="*/ 2147483647 h 331"/>
                  <a:gd name="T76" fmla="*/ 2147483647 w 400"/>
                  <a:gd name="T77" fmla="*/ 2147483647 h 331"/>
                  <a:gd name="T78" fmla="*/ 2147483647 w 400"/>
                  <a:gd name="T79" fmla="*/ 2147483647 h 331"/>
                  <a:gd name="T80" fmla="*/ 2147483647 w 400"/>
                  <a:gd name="T81" fmla="*/ 2147483647 h 331"/>
                  <a:gd name="T82" fmla="*/ 2147483647 w 400"/>
                  <a:gd name="T83" fmla="*/ 2147483647 h 331"/>
                  <a:gd name="T84" fmla="*/ 2147483647 w 400"/>
                  <a:gd name="T85" fmla="*/ 2147483647 h 331"/>
                  <a:gd name="T86" fmla="*/ 2147483647 w 400"/>
                  <a:gd name="T87" fmla="*/ 2147483647 h 331"/>
                  <a:gd name="T88" fmla="*/ 2147483647 w 400"/>
                  <a:gd name="T89" fmla="*/ 2147483647 h 331"/>
                  <a:gd name="T90" fmla="*/ 2147483647 w 400"/>
                  <a:gd name="T91" fmla="*/ 2147483647 h 331"/>
                  <a:gd name="T92" fmla="*/ 2147483647 w 400"/>
                  <a:gd name="T93" fmla="*/ 2147483647 h 331"/>
                  <a:gd name="T94" fmla="*/ 2147483647 w 400"/>
                  <a:gd name="T95" fmla="*/ 2147483647 h 331"/>
                  <a:gd name="T96" fmla="*/ 2147483647 w 400"/>
                  <a:gd name="T97" fmla="*/ 2147483647 h 331"/>
                  <a:gd name="T98" fmla="*/ 2147483647 w 400"/>
                  <a:gd name="T99" fmla="*/ 2147483647 h 331"/>
                  <a:gd name="T100" fmla="*/ 2147483647 w 400"/>
                  <a:gd name="T101" fmla="*/ 2147483647 h 331"/>
                  <a:gd name="T102" fmla="*/ 2147483647 w 400"/>
                  <a:gd name="T103" fmla="*/ 2147483647 h 331"/>
                  <a:gd name="T104" fmla="*/ 2147483647 w 400"/>
                  <a:gd name="T105" fmla="*/ 2147483647 h 331"/>
                  <a:gd name="T106" fmla="*/ 2147483647 w 400"/>
                  <a:gd name="T107" fmla="*/ 2147483647 h 331"/>
                  <a:gd name="T108" fmla="*/ 2147483647 w 400"/>
                  <a:gd name="T109" fmla="*/ 2147483647 h 331"/>
                  <a:gd name="T110" fmla="*/ 2147483647 w 400"/>
                  <a:gd name="T111" fmla="*/ 2147483647 h 331"/>
                  <a:gd name="T112" fmla="*/ 2147483647 w 400"/>
                  <a:gd name="T113" fmla="*/ 2147483647 h 3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00"/>
                  <a:gd name="T172" fmla="*/ 0 h 331"/>
                  <a:gd name="T173" fmla="*/ 400 w 400"/>
                  <a:gd name="T174" fmla="*/ 331 h 3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00" h="331">
                    <a:moveTo>
                      <a:pt x="326" y="70"/>
                    </a:moveTo>
                    <a:cubicBezTo>
                      <a:pt x="329" y="84"/>
                      <a:pt x="324" y="92"/>
                      <a:pt x="324" y="92"/>
                    </a:cubicBezTo>
                    <a:cubicBezTo>
                      <a:pt x="312" y="108"/>
                      <a:pt x="327" y="112"/>
                      <a:pt x="327" y="112"/>
                    </a:cubicBezTo>
                    <a:cubicBezTo>
                      <a:pt x="331" y="119"/>
                      <a:pt x="340" y="110"/>
                      <a:pt x="349" y="123"/>
                    </a:cubicBezTo>
                    <a:cubicBezTo>
                      <a:pt x="369" y="122"/>
                      <a:pt x="363" y="137"/>
                      <a:pt x="363" y="137"/>
                    </a:cubicBezTo>
                    <a:cubicBezTo>
                      <a:pt x="368" y="158"/>
                      <a:pt x="383" y="152"/>
                      <a:pt x="383" y="152"/>
                    </a:cubicBezTo>
                    <a:cubicBezTo>
                      <a:pt x="393" y="146"/>
                      <a:pt x="393" y="160"/>
                      <a:pt x="393" y="160"/>
                    </a:cubicBezTo>
                    <a:cubicBezTo>
                      <a:pt x="400" y="187"/>
                      <a:pt x="390" y="185"/>
                      <a:pt x="390" y="185"/>
                    </a:cubicBezTo>
                    <a:cubicBezTo>
                      <a:pt x="375" y="183"/>
                      <a:pt x="383" y="198"/>
                      <a:pt x="383" y="198"/>
                    </a:cubicBezTo>
                    <a:cubicBezTo>
                      <a:pt x="392" y="203"/>
                      <a:pt x="380" y="216"/>
                      <a:pt x="380" y="216"/>
                    </a:cubicBezTo>
                    <a:cubicBezTo>
                      <a:pt x="373" y="224"/>
                      <a:pt x="359" y="221"/>
                      <a:pt x="359" y="221"/>
                    </a:cubicBezTo>
                    <a:cubicBezTo>
                      <a:pt x="329" y="211"/>
                      <a:pt x="343" y="246"/>
                      <a:pt x="343" y="246"/>
                    </a:cubicBezTo>
                    <a:cubicBezTo>
                      <a:pt x="333" y="251"/>
                      <a:pt x="322" y="243"/>
                      <a:pt x="315" y="250"/>
                    </a:cubicBezTo>
                    <a:cubicBezTo>
                      <a:pt x="311" y="254"/>
                      <a:pt x="298" y="251"/>
                      <a:pt x="285" y="265"/>
                    </a:cubicBezTo>
                    <a:cubicBezTo>
                      <a:pt x="272" y="264"/>
                      <a:pt x="270" y="284"/>
                      <a:pt x="270" y="284"/>
                    </a:cubicBezTo>
                    <a:cubicBezTo>
                      <a:pt x="256" y="298"/>
                      <a:pt x="266" y="301"/>
                      <a:pt x="266" y="301"/>
                    </a:cubicBezTo>
                    <a:cubicBezTo>
                      <a:pt x="270" y="314"/>
                      <a:pt x="263" y="321"/>
                      <a:pt x="263" y="321"/>
                    </a:cubicBezTo>
                    <a:cubicBezTo>
                      <a:pt x="263" y="321"/>
                      <a:pt x="260" y="331"/>
                      <a:pt x="242" y="318"/>
                    </a:cubicBezTo>
                    <a:cubicBezTo>
                      <a:pt x="242" y="318"/>
                      <a:pt x="227" y="311"/>
                      <a:pt x="219" y="307"/>
                    </a:cubicBezTo>
                    <a:cubicBezTo>
                      <a:pt x="219" y="307"/>
                      <a:pt x="215" y="294"/>
                      <a:pt x="185" y="299"/>
                    </a:cubicBezTo>
                    <a:cubicBezTo>
                      <a:pt x="185" y="299"/>
                      <a:pt x="175" y="302"/>
                      <a:pt x="168" y="298"/>
                    </a:cubicBezTo>
                    <a:cubicBezTo>
                      <a:pt x="162" y="292"/>
                      <a:pt x="154" y="304"/>
                      <a:pt x="150" y="284"/>
                    </a:cubicBezTo>
                    <a:cubicBezTo>
                      <a:pt x="150" y="284"/>
                      <a:pt x="152" y="273"/>
                      <a:pt x="136" y="273"/>
                    </a:cubicBezTo>
                    <a:cubicBezTo>
                      <a:pt x="136" y="273"/>
                      <a:pt x="132" y="266"/>
                      <a:pt x="126" y="260"/>
                    </a:cubicBezTo>
                    <a:cubicBezTo>
                      <a:pt x="126" y="260"/>
                      <a:pt x="120" y="250"/>
                      <a:pt x="96" y="249"/>
                    </a:cubicBezTo>
                    <a:cubicBezTo>
                      <a:pt x="96" y="249"/>
                      <a:pt x="92" y="242"/>
                      <a:pt x="84" y="240"/>
                    </a:cubicBezTo>
                    <a:cubicBezTo>
                      <a:pt x="84" y="240"/>
                      <a:pt x="85" y="222"/>
                      <a:pt x="75" y="210"/>
                    </a:cubicBezTo>
                    <a:cubicBezTo>
                      <a:pt x="75" y="210"/>
                      <a:pt x="65" y="199"/>
                      <a:pt x="74" y="188"/>
                    </a:cubicBezTo>
                    <a:cubicBezTo>
                      <a:pt x="74" y="188"/>
                      <a:pt x="87" y="187"/>
                      <a:pt x="73" y="174"/>
                    </a:cubicBezTo>
                    <a:cubicBezTo>
                      <a:pt x="73" y="174"/>
                      <a:pt x="75" y="164"/>
                      <a:pt x="58" y="161"/>
                    </a:cubicBezTo>
                    <a:cubicBezTo>
                      <a:pt x="58" y="161"/>
                      <a:pt x="58" y="149"/>
                      <a:pt x="43" y="143"/>
                    </a:cubicBezTo>
                    <a:cubicBezTo>
                      <a:pt x="43" y="143"/>
                      <a:pt x="23" y="130"/>
                      <a:pt x="36" y="128"/>
                    </a:cubicBezTo>
                    <a:cubicBezTo>
                      <a:pt x="36" y="128"/>
                      <a:pt x="40" y="115"/>
                      <a:pt x="34" y="110"/>
                    </a:cubicBezTo>
                    <a:cubicBezTo>
                      <a:pt x="34" y="110"/>
                      <a:pt x="32" y="99"/>
                      <a:pt x="24" y="99"/>
                    </a:cubicBezTo>
                    <a:cubicBezTo>
                      <a:pt x="24" y="99"/>
                      <a:pt x="15" y="101"/>
                      <a:pt x="15" y="79"/>
                    </a:cubicBezTo>
                    <a:cubicBezTo>
                      <a:pt x="15" y="79"/>
                      <a:pt x="0" y="78"/>
                      <a:pt x="0" y="63"/>
                    </a:cubicBezTo>
                    <a:cubicBezTo>
                      <a:pt x="0" y="63"/>
                      <a:pt x="5" y="58"/>
                      <a:pt x="3" y="46"/>
                    </a:cubicBezTo>
                    <a:cubicBezTo>
                      <a:pt x="3" y="46"/>
                      <a:pt x="14" y="51"/>
                      <a:pt x="22" y="38"/>
                    </a:cubicBezTo>
                    <a:cubicBezTo>
                      <a:pt x="22" y="38"/>
                      <a:pt x="34" y="28"/>
                      <a:pt x="44" y="38"/>
                    </a:cubicBezTo>
                    <a:cubicBezTo>
                      <a:pt x="44" y="38"/>
                      <a:pt x="54" y="47"/>
                      <a:pt x="76" y="38"/>
                    </a:cubicBezTo>
                    <a:cubicBezTo>
                      <a:pt x="76" y="38"/>
                      <a:pt x="87" y="41"/>
                      <a:pt x="96" y="27"/>
                    </a:cubicBezTo>
                    <a:cubicBezTo>
                      <a:pt x="96" y="27"/>
                      <a:pt x="109" y="17"/>
                      <a:pt x="109" y="9"/>
                    </a:cubicBezTo>
                    <a:cubicBezTo>
                      <a:pt x="123" y="16"/>
                      <a:pt x="126" y="9"/>
                      <a:pt x="126" y="9"/>
                    </a:cubicBezTo>
                    <a:cubicBezTo>
                      <a:pt x="132" y="2"/>
                      <a:pt x="146" y="13"/>
                      <a:pt x="146" y="13"/>
                    </a:cubicBezTo>
                    <a:cubicBezTo>
                      <a:pt x="150" y="16"/>
                      <a:pt x="175" y="12"/>
                      <a:pt x="181" y="16"/>
                    </a:cubicBezTo>
                    <a:cubicBezTo>
                      <a:pt x="198" y="20"/>
                      <a:pt x="198" y="13"/>
                      <a:pt x="198" y="13"/>
                    </a:cubicBezTo>
                    <a:cubicBezTo>
                      <a:pt x="206" y="0"/>
                      <a:pt x="214" y="13"/>
                      <a:pt x="214" y="13"/>
                    </a:cubicBezTo>
                    <a:cubicBezTo>
                      <a:pt x="224" y="22"/>
                      <a:pt x="229" y="13"/>
                      <a:pt x="229" y="13"/>
                    </a:cubicBezTo>
                    <a:cubicBezTo>
                      <a:pt x="230" y="2"/>
                      <a:pt x="246" y="3"/>
                      <a:pt x="246" y="3"/>
                    </a:cubicBezTo>
                    <a:cubicBezTo>
                      <a:pt x="245" y="27"/>
                      <a:pt x="256" y="30"/>
                      <a:pt x="256" y="30"/>
                    </a:cubicBezTo>
                    <a:cubicBezTo>
                      <a:pt x="263" y="38"/>
                      <a:pt x="264" y="52"/>
                      <a:pt x="264" y="52"/>
                    </a:cubicBezTo>
                    <a:cubicBezTo>
                      <a:pt x="271" y="49"/>
                      <a:pt x="271" y="59"/>
                      <a:pt x="271" y="59"/>
                    </a:cubicBezTo>
                    <a:cubicBezTo>
                      <a:pt x="284" y="64"/>
                      <a:pt x="274" y="68"/>
                      <a:pt x="274" y="68"/>
                    </a:cubicBezTo>
                    <a:cubicBezTo>
                      <a:pt x="269" y="79"/>
                      <a:pt x="282" y="78"/>
                      <a:pt x="282" y="78"/>
                    </a:cubicBezTo>
                    <a:cubicBezTo>
                      <a:pt x="296" y="80"/>
                      <a:pt x="303" y="71"/>
                      <a:pt x="303" y="71"/>
                    </a:cubicBezTo>
                    <a:cubicBezTo>
                      <a:pt x="315" y="64"/>
                      <a:pt x="326" y="70"/>
                      <a:pt x="326" y="70"/>
                    </a:cubicBezTo>
                    <a:cubicBezTo>
                      <a:pt x="326" y="70"/>
                      <a:pt x="326" y="70"/>
                      <a:pt x="326" y="70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7" name="Freeform 45"/>
              <p:cNvSpPr>
                <a:spLocks/>
              </p:cNvSpPr>
              <p:nvPr/>
            </p:nvSpPr>
            <p:spPr bwMode="auto">
              <a:xfrm>
                <a:off x="4581238" y="2976751"/>
                <a:ext cx="1089799" cy="921624"/>
              </a:xfrm>
              <a:custGeom>
                <a:avLst/>
                <a:gdLst>
                  <a:gd name="T0" fmla="*/ 2147483647 w 385"/>
                  <a:gd name="T1" fmla="*/ 2147483647 h 369"/>
                  <a:gd name="T2" fmla="*/ 2147483647 w 385"/>
                  <a:gd name="T3" fmla="*/ 2147483647 h 369"/>
                  <a:gd name="T4" fmla="*/ 2147483647 w 385"/>
                  <a:gd name="T5" fmla="*/ 2147483647 h 369"/>
                  <a:gd name="T6" fmla="*/ 2147483647 w 385"/>
                  <a:gd name="T7" fmla="*/ 2147483647 h 369"/>
                  <a:gd name="T8" fmla="*/ 2147483647 w 385"/>
                  <a:gd name="T9" fmla="*/ 2147483647 h 369"/>
                  <a:gd name="T10" fmla="*/ 2147483647 w 385"/>
                  <a:gd name="T11" fmla="*/ 2147483647 h 369"/>
                  <a:gd name="T12" fmla="*/ 2147483647 w 385"/>
                  <a:gd name="T13" fmla="*/ 2147483647 h 369"/>
                  <a:gd name="T14" fmla="*/ 2147483647 w 385"/>
                  <a:gd name="T15" fmla="*/ 2147483647 h 369"/>
                  <a:gd name="T16" fmla="*/ 2147483647 w 385"/>
                  <a:gd name="T17" fmla="*/ 2147483647 h 369"/>
                  <a:gd name="T18" fmla="*/ 2147483647 w 385"/>
                  <a:gd name="T19" fmla="*/ 2147483647 h 369"/>
                  <a:gd name="T20" fmla="*/ 2147483647 w 385"/>
                  <a:gd name="T21" fmla="*/ 2147483647 h 369"/>
                  <a:gd name="T22" fmla="*/ 2147483647 w 385"/>
                  <a:gd name="T23" fmla="*/ 2147483647 h 369"/>
                  <a:gd name="T24" fmla="*/ 2147483647 w 385"/>
                  <a:gd name="T25" fmla="*/ 2147483647 h 369"/>
                  <a:gd name="T26" fmla="*/ 2147483647 w 385"/>
                  <a:gd name="T27" fmla="*/ 2147483647 h 369"/>
                  <a:gd name="T28" fmla="*/ 2147483647 w 385"/>
                  <a:gd name="T29" fmla="*/ 2147483647 h 369"/>
                  <a:gd name="T30" fmla="*/ 2147483647 w 385"/>
                  <a:gd name="T31" fmla="*/ 2147483647 h 369"/>
                  <a:gd name="T32" fmla="*/ 2147483647 w 385"/>
                  <a:gd name="T33" fmla="*/ 2147483647 h 369"/>
                  <a:gd name="T34" fmla="*/ 2147483647 w 385"/>
                  <a:gd name="T35" fmla="*/ 2147483647 h 369"/>
                  <a:gd name="T36" fmla="*/ 2147483647 w 385"/>
                  <a:gd name="T37" fmla="*/ 2147483647 h 369"/>
                  <a:gd name="T38" fmla="*/ 2147483647 w 385"/>
                  <a:gd name="T39" fmla="*/ 2147483647 h 369"/>
                  <a:gd name="T40" fmla="*/ 2147483647 w 385"/>
                  <a:gd name="T41" fmla="*/ 2147483647 h 369"/>
                  <a:gd name="T42" fmla="*/ 2147483647 w 385"/>
                  <a:gd name="T43" fmla="*/ 2147483647 h 369"/>
                  <a:gd name="T44" fmla="*/ 2147483647 w 385"/>
                  <a:gd name="T45" fmla="*/ 2147483647 h 369"/>
                  <a:gd name="T46" fmla="*/ 2147483647 w 385"/>
                  <a:gd name="T47" fmla="*/ 2147483647 h 369"/>
                  <a:gd name="T48" fmla="*/ 2147483647 w 385"/>
                  <a:gd name="T49" fmla="*/ 2147483647 h 369"/>
                  <a:gd name="T50" fmla="*/ 2147483647 w 385"/>
                  <a:gd name="T51" fmla="*/ 2147483647 h 369"/>
                  <a:gd name="T52" fmla="*/ 2147483647 w 385"/>
                  <a:gd name="T53" fmla="*/ 2147483647 h 369"/>
                  <a:gd name="T54" fmla="*/ 2147483647 w 385"/>
                  <a:gd name="T55" fmla="*/ 2147483647 h 369"/>
                  <a:gd name="T56" fmla="*/ 2147483647 w 385"/>
                  <a:gd name="T57" fmla="*/ 2147483647 h 369"/>
                  <a:gd name="T58" fmla="*/ 2147483647 w 385"/>
                  <a:gd name="T59" fmla="*/ 2147483647 h 369"/>
                  <a:gd name="T60" fmla="*/ 2147483647 w 385"/>
                  <a:gd name="T61" fmla="*/ 2147483647 h 369"/>
                  <a:gd name="T62" fmla="*/ 2147483647 w 385"/>
                  <a:gd name="T63" fmla="*/ 2147483647 h 369"/>
                  <a:gd name="T64" fmla="*/ 2147483647 w 385"/>
                  <a:gd name="T65" fmla="*/ 2147483647 h 369"/>
                  <a:gd name="T66" fmla="*/ 2147483647 w 385"/>
                  <a:gd name="T67" fmla="*/ 2147483647 h 369"/>
                  <a:gd name="T68" fmla="*/ 2147483647 w 385"/>
                  <a:gd name="T69" fmla="*/ 2147483647 h 369"/>
                  <a:gd name="T70" fmla="*/ 2147483647 w 385"/>
                  <a:gd name="T71" fmla="*/ 2147483647 h 369"/>
                  <a:gd name="T72" fmla="*/ 2147483647 w 385"/>
                  <a:gd name="T73" fmla="*/ 2147483647 h 369"/>
                  <a:gd name="T74" fmla="*/ 2147483647 w 385"/>
                  <a:gd name="T75" fmla="*/ 2147483647 h 369"/>
                  <a:gd name="T76" fmla="*/ 2147483647 w 385"/>
                  <a:gd name="T77" fmla="*/ 2147483647 h 369"/>
                  <a:gd name="T78" fmla="*/ 2147483647 w 385"/>
                  <a:gd name="T79" fmla="*/ 2147483647 h 369"/>
                  <a:gd name="T80" fmla="*/ 2147483647 w 385"/>
                  <a:gd name="T81" fmla="*/ 2147483647 h 369"/>
                  <a:gd name="T82" fmla="*/ 2147483647 w 385"/>
                  <a:gd name="T83" fmla="*/ 2147483647 h 369"/>
                  <a:gd name="T84" fmla="*/ 2147483647 w 385"/>
                  <a:gd name="T85" fmla="*/ 2147483647 h 369"/>
                  <a:gd name="T86" fmla="*/ 2147483647 w 385"/>
                  <a:gd name="T87" fmla="*/ 2147483647 h 369"/>
                  <a:gd name="T88" fmla="*/ 2147483647 w 385"/>
                  <a:gd name="T89" fmla="*/ 2147483647 h 369"/>
                  <a:gd name="T90" fmla="*/ 2147483647 w 385"/>
                  <a:gd name="T91" fmla="*/ 2147483647 h 369"/>
                  <a:gd name="T92" fmla="*/ 2147483647 w 385"/>
                  <a:gd name="T93" fmla="*/ 2147483647 h 369"/>
                  <a:gd name="T94" fmla="*/ 2147483647 w 385"/>
                  <a:gd name="T95" fmla="*/ 2147483647 h 369"/>
                  <a:gd name="T96" fmla="*/ 2147483647 w 385"/>
                  <a:gd name="T97" fmla="*/ 2147483647 h 369"/>
                  <a:gd name="T98" fmla="*/ 2147483647 w 385"/>
                  <a:gd name="T99" fmla="*/ 2147483647 h 369"/>
                  <a:gd name="T100" fmla="*/ 2147483647 w 385"/>
                  <a:gd name="T101" fmla="*/ 2147483647 h 369"/>
                  <a:gd name="T102" fmla="*/ 2147483647 w 385"/>
                  <a:gd name="T103" fmla="*/ 2147483647 h 369"/>
                  <a:gd name="T104" fmla="*/ 2147483647 w 385"/>
                  <a:gd name="T105" fmla="*/ 2147483647 h 369"/>
                  <a:gd name="T106" fmla="*/ 2147483647 w 385"/>
                  <a:gd name="T107" fmla="*/ 2147483647 h 369"/>
                  <a:gd name="T108" fmla="*/ 2147483647 w 385"/>
                  <a:gd name="T109" fmla="*/ 2147483647 h 369"/>
                  <a:gd name="T110" fmla="*/ 2147483647 w 385"/>
                  <a:gd name="T111" fmla="*/ 2147483647 h 369"/>
                  <a:gd name="T112" fmla="*/ 2147483647 w 385"/>
                  <a:gd name="T113" fmla="*/ 2147483647 h 369"/>
                  <a:gd name="T114" fmla="*/ 2147483647 w 385"/>
                  <a:gd name="T115" fmla="*/ 2147483647 h 369"/>
                  <a:gd name="T116" fmla="*/ 2147483647 w 385"/>
                  <a:gd name="T117" fmla="*/ 2147483647 h 369"/>
                  <a:gd name="T118" fmla="*/ 2147483647 w 385"/>
                  <a:gd name="T119" fmla="*/ 2147483647 h 369"/>
                  <a:gd name="T120" fmla="*/ 2147483647 w 385"/>
                  <a:gd name="T121" fmla="*/ 2147483647 h 369"/>
                  <a:gd name="T122" fmla="*/ 2147483647 w 385"/>
                  <a:gd name="T123" fmla="*/ 2147483647 h 36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5"/>
                  <a:gd name="T187" fmla="*/ 0 h 369"/>
                  <a:gd name="T188" fmla="*/ 385 w 385"/>
                  <a:gd name="T189" fmla="*/ 369 h 36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5" h="369">
                    <a:moveTo>
                      <a:pt x="102" y="33"/>
                    </a:moveTo>
                    <a:cubicBezTo>
                      <a:pt x="102" y="47"/>
                      <a:pt x="83" y="39"/>
                      <a:pt x="79" y="45"/>
                    </a:cubicBezTo>
                    <a:cubicBezTo>
                      <a:pt x="75" y="39"/>
                      <a:pt x="54" y="46"/>
                      <a:pt x="51" y="61"/>
                    </a:cubicBezTo>
                    <a:cubicBezTo>
                      <a:pt x="51" y="61"/>
                      <a:pt x="37" y="57"/>
                      <a:pt x="32" y="69"/>
                    </a:cubicBezTo>
                    <a:cubicBezTo>
                      <a:pt x="32" y="69"/>
                      <a:pt x="21" y="68"/>
                      <a:pt x="14" y="77"/>
                    </a:cubicBezTo>
                    <a:cubicBezTo>
                      <a:pt x="17" y="91"/>
                      <a:pt x="12" y="100"/>
                      <a:pt x="12" y="100"/>
                    </a:cubicBezTo>
                    <a:cubicBezTo>
                      <a:pt x="0" y="116"/>
                      <a:pt x="15" y="120"/>
                      <a:pt x="15" y="120"/>
                    </a:cubicBezTo>
                    <a:cubicBezTo>
                      <a:pt x="19" y="127"/>
                      <a:pt x="28" y="118"/>
                      <a:pt x="37" y="131"/>
                    </a:cubicBezTo>
                    <a:cubicBezTo>
                      <a:pt x="57" y="130"/>
                      <a:pt x="51" y="145"/>
                      <a:pt x="51" y="145"/>
                    </a:cubicBezTo>
                    <a:cubicBezTo>
                      <a:pt x="56" y="166"/>
                      <a:pt x="71" y="160"/>
                      <a:pt x="71" y="160"/>
                    </a:cubicBezTo>
                    <a:cubicBezTo>
                      <a:pt x="81" y="154"/>
                      <a:pt x="81" y="168"/>
                      <a:pt x="81" y="168"/>
                    </a:cubicBezTo>
                    <a:cubicBezTo>
                      <a:pt x="88" y="195"/>
                      <a:pt x="78" y="193"/>
                      <a:pt x="78" y="193"/>
                    </a:cubicBezTo>
                    <a:cubicBezTo>
                      <a:pt x="63" y="191"/>
                      <a:pt x="71" y="206"/>
                      <a:pt x="71" y="206"/>
                    </a:cubicBezTo>
                    <a:cubicBezTo>
                      <a:pt x="80" y="211"/>
                      <a:pt x="68" y="224"/>
                      <a:pt x="68" y="224"/>
                    </a:cubicBezTo>
                    <a:cubicBezTo>
                      <a:pt x="61" y="232"/>
                      <a:pt x="47" y="229"/>
                      <a:pt x="47" y="229"/>
                    </a:cubicBezTo>
                    <a:cubicBezTo>
                      <a:pt x="17" y="219"/>
                      <a:pt x="31" y="254"/>
                      <a:pt x="31" y="254"/>
                    </a:cubicBezTo>
                    <a:cubicBezTo>
                      <a:pt x="33" y="259"/>
                      <a:pt x="54" y="250"/>
                      <a:pt x="64" y="265"/>
                    </a:cubicBezTo>
                    <a:cubicBezTo>
                      <a:pt x="82" y="281"/>
                      <a:pt x="90" y="290"/>
                      <a:pt x="102" y="287"/>
                    </a:cubicBezTo>
                    <a:cubicBezTo>
                      <a:pt x="116" y="289"/>
                      <a:pt x="132" y="287"/>
                      <a:pt x="132" y="287"/>
                    </a:cubicBezTo>
                    <a:cubicBezTo>
                      <a:pt x="159" y="271"/>
                      <a:pt x="157" y="303"/>
                      <a:pt x="157" y="303"/>
                    </a:cubicBezTo>
                    <a:cubicBezTo>
                      <a:pt x="180" y="313"/>
                      <a:pt x="175" y="321"/>
                      <a:pt x="175" y="321"/>
                    </a:cubicBezTo>
                    <a:cubicBezTo>
                      <a:pt x="178" y="332"/>
                      <a:pt x="185" y="333"/>
                      <a:pt x="185" y="333"/>
                    </a:cubicBezTo>
                    <a:cubicBezTo>
                      <a:pt x="197" y="338"/>
                      <a:pt x="195" y="349"/>
                      <a:pt x="195" y="349"/>
                    </a:cubicBezTo>
                    <a:cubicBezTo>
                      <a:pt x="197" y="369"/>
                      <a:pt x="208" y="349"/>
                      <a:pt x="208" y="349"/>
                    </a:cubicBezTo>
                    <a:cubicBezTo>
                      <a:pt x="215" y="330"/>
                      <a:pt x="228" y="339"/>
                      <a:pt x="228" y="339"/>
                    </a:cubicBezTo>
                    <a:cubicBezTo>
                      <a:pt x="230" y="348"/>
                      <a:pt x="245" y="338"/>
                      <a:pt x="245" y="338"/>
                    </a:cubicBezTo>
                    <a:cubicBezTo>
                      <a:pt x="248" y="321"/>
                      <a:pt x="240" y="325"/>
                      <a:pt x="241" y="316"/>
                    </a:cubicBezTo>
                    <a:cubicBezTo>
                      <a:pt x="241" y="316"/>
                      <a:pt x="239" y="303"/>
                      <a:pt x="254" y="310"/>
                    </a:cubicBezTo>
                    <a:cubicBezTo>
                      <a:pt x="259" y="313"/>
                      <a:pt x="260" y="304"/>
                      <a:pt x="263" y="303"/>
                    </a:cubicBezTo>
                    <a:cubicBezTo>
                      <a:pt x="263" y="303"/>
                      <a:pt x="270" y="309"/>
                      <a:pt x="278" y="309"/>
                    </a:cubicBezTo>
                    <a:cubicBezTo>
                      <a:pt x="278" y="309"/>
                      <a:pt x="273" y="303"/>
                      <a:pt x="284" y="298"/>
                    </a:cubicBezTo>
                    <a:cubicBezTo>
                      <a:pt x="284" y="298"/>
                      <a:pt x="290" y="292"/>
                      <a:pt x="296" y="299"/>
                    </a:cubicBezTo>
                    <a:cubicBezTo>
                      <a:pt x="296" y="299"/>
                      <a:pt x="291" y="288"/>
                      <a:pt x="304" y="282"/>
                    </a:cubicBezTo>
                    <a:cubicBezTo>
                      <a:pt x="304" y="282"/>
                      <a:pt x="316" y="278"/>
                      <a:pt x="310" y="267"/>
                    </a:cubicBezTo>
                    <a:cubicBezTo>
                      <a:pt x="310" y="267"/>
                      <a:pt x="310" y="259"/>
                      <a:pt x="328" y="245"/>
                    </a:cubicBezTo>
                    <a:cubicBezTo>
                      <a:pt x="328" y="245"/>
                      <a:pt x="343" y="240"/>
                      <a:pt x="343" y="231"/>
                    </a:cubicBezTo>
                    <a:cubicBezTo>
                      <a:pt x="343" y="224"/>
                      <a:pt x="329" y="232"/>
                      <a:pt x="332" y="226"/>
                    </a:cubicBezTo>
                    <a:cubicBezTo>
                      <a:pt x="332" y="226"/>
                      <a:pt x="337" y="212"/>
                      <a:pt x="348" y="221"/>
                    </a:cubicBezTo>
                    <a:cubicBezTo>
                      <a:pt x="348" y="221"/>
                      <a:pt x="364" y="223"/>
                      <a:pt x="371" y="218"/>
                    </a:cubicBezTo>
                    <a:cubicBezTo>
                      <a:pt x="371" y="218"/>
                      <a:pt x="383" y="203"/>
                      <a:pt x="373" y="200"/>
                    </a:cubicBezTo>
                    <a:cubicBezTo>
                      <a:pt x="373" y="200"/>
                      <a:pt x="368" y="193"/>
                      <a:pt x="373" y="169"/>
                    </a:cubicBezTo>
                    <a:cubicBezTo>
                      <a:pt x="373" y="169"/>
                      <a:pt x="382" y="163"/>
                      <a:pt x="376" y="153"/>
                    </a:cubicBezTo>
                    <a:cubicBezTo>
                      <a:pt x="369" y="142"/>
                      <a:pt x="385" y="141"/>
                      <a:pt x="380" y="134"/>
                    </a:cubicBezTo>
                    <a:cubicBezTo>
                      <a:pt x="380" y="134"/>
                      <a:pt x="373" y="128"/>
                      <a:pt x="377" y="120"/>
                    </a:cubicBezTo>
                    <a:cubicBezTo>
                      <a:pt x="381" y="118"/>
                      <a:pt x="376" y="110"/>
                      <a:pt x="384" y="103"/>
                    </a:cubicBezTo>
                    <a:cubicBezTo>
                      <a:pt x="384" y="103"/>
                      <a:pt x="376" y="96"/>
                      <a:pt x="381" y="87"/>
                    </a:cubicBezTo>
                    <a:cubicBezTo>
                      <a:pt x="376" y="87"/>
                      <a:pt x="374" y="80"/>
                      <a:pt x="374" y="80"/>
                    </a:cubicBezTo>
                    <a:cubicBezTo>
                      <a:pt x="363" y="63"/>
                      <a:pt x="346" y="65"/>
                      <a:pt x="346" y="65"/>
                    </a:cubicBezTo>
                    <a:cubicBezTo>
                      <a:pt x="336" y="46"/>
                      <a:pt x="328" y="41"/>
                      <a:pt x="328" y="41"/>
                    </a:cubicBezTo>
                    <a:cubicBezTo>
                      <a:pt x="330" y="17"/>
                      <a:pt x="318" y="21"/>
                      <a:pt x="318" y="21"/>
                    </a:cubicBezTo>
                    <a:cubicBezTo>
                      <a:pt x="307" y="17"/>
                      <a:pt x="308" y="8"/>
                      <a:pt x="308" y="8"/>
                    </a:cubicBezTo>
                    <a:cubicBezTo>
                      <a:pt x="307" y="0"/>
                      <a:pt x="292" y="3"/>
                      <a:pt x="292" y="3"/>
                    </a:cubicBezTo>
                    <a:cubicBezTo>
                      <a:pt x="270" y="28"/>
                      <a:pt x="259" y="22"/>
                      <a:pt x="259" y="22"/>
                    </a:cubicBezTo>
                    <a:cubicBezTo>
                      <a:pt x="241" y="19"/>
                      <a:pt x="230" y="35"/>
                      <a:pt x="230" y="35"/>
                    </a:cubicBezTo>
                    <a:cubicBezTo>
                      <a:pt x="216" y="39"/>
                      <a:pt x="219" y="45"/>
                      <a:pt x="219" y="45"/>
                    </a:cubicBezTo>
                    <a:cubicBezTo>
                      <a:pt x="208" y="57"/>
                      <a:pt x="203" y="45"/>
                      <a:pt x="203" y="45"/>
                    </a:cubicBezTo>
                    <a:cubicBezTo>
                      <a:pt x="192" y="24"/>
                      <a:pt x="184" y="39"/>
                      <a:pt x="184" y="39"/>
                    </a:cubicBezTo>
                    <a:cubicBezTo>
                      <a:pt x="173" y="46"/>
                      <a:pt x="166" y="30"/>
                      <a:pt x="166" y="30"/>
                    </a:cubicBezTo>
                    <a:cubicBezTo>
                      <a:pt x="157" y="10"/>
                      <a:pt x="141" y="14"/>
                      <a:pt x="141" y="14"/>
                    </a:cubicBezTo>
                    <a:cubicBezTo>
                      <a:pt x="118" y="12"/>
                      <a:pt x="112" y="25"/>
                      <a:pt x="112" y="25"/>
                    </a:cubicBezTo>
                    <a:cubicBezTo>
                      <a:pt x="109" y="32"/>
                      <a:pt x="105" y="33"/>
                      <a:pt x="102" y="33"/>
                    </a:cubicBezTo>
                    <a:cubicBezTo>
                      <a:pt x="102" y="33"/>
                      <a:pt x="102" y="33"/>
                      <a:pt x="102" y="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8" name="Freeform 44"/>
              <p:cNvSpPr>
                <a:spLocks/>
              </p:cNvSpPr>
              <p:nvPr/>
            </p:nvSpPr>
            <p:spPr bwMode="auto">
              <a:xfrm>
                <a:off x="5623192" y="3119355"/>
                <a:ext cx="818679" cy="974659"/>
              </a:xfrm>
              <a:custGeom>
                <a:avLst/>
                <a:gdLst>
                  <a:gd name="T0" fmla="*/ 2147483647 w 289"/>
                  <a:gd name="T1" fmla="*/ 2147483647 h 390"/>
                  <a:gd name="T2" fmla="*/ 2147483647 w 289"/>
                  <a:gd name="T3" fmla="*/ 2147483647 h 390"/>
                  <a:gd name="T4" fmla="*/ 2147483647 w 289"/>
                  <a:gd name="T5" fmla="*/ 2147483647 h 390"/>
                  <a:gd name="T6" fmla="*/ 2147483647 w 289"/>
                  <a:gd name="T7" fmla="*/ 2147483647 h 390"/>
                  <a:gd name="T8" fmla="*/ 2147483647 w 289"/>
                  <a:gd name="T9" fmla="*/ 2147483647 h 390"/>
                  <a:gd name="T10" fmla="*/ 2147483647 w 289"/>
                  <a:gd name="T11" fmla="*/ 2147483647 h 390"/>
                  <a:gd name="T12" fmla="*/ 2147483647 w 289"/>
                  <a:gd name="T13" fmla="*/ 2147483647 h 390"/>
                  <a:gd name="T14" fmla="*/ 2147483647 w 289"/>
                  <a:gd name="T15" fmla="*/ 2147483647 h 390"/>
                  <a:gd name="T16" fmla="*/ 2147483647 w 289"/>
                  <a:gd name="T17" fmla="*/ 2147483647 h 390"/>
                  <a:gd name="T18" fmla="*/ 2147483647 w 289"/>
                  <a:gd name="T19" fmla="*/ 2147483647 h 390"/>
                  <a:gd name="T20" fmla="*/ 2147483647 w 289"/>
                  <a:gd name="T21" fmla="*/ 2147483647 h 390"/>
                  <a:gd name="T22" fmla="*/ 2147483647 w 289"/>
                  <a:gd name="T23" fmla="*/ 2147483647 h 390"/>
                  <a:gd name="T24" fmla="*/ 2147483647 w 289"/>
                  <a:gd name="T25" fmla="*/ 2147483647 h 390"/>
                  <a:gd name="T26" fmla="*/ 2147483647 w 289"/>
                  <a:gd name="T27" fmla="*/ 2147483647 h 390"/>
                  <a:gd name="T28" fmla="*/ 2147483647 w 289"/>
                  <a:gd name="T29" fmla="*/ 2147483647 h 390"/>
                  <a:gd name="T30" fmla="*/ 2147483647 w 289"/>
                  <a:gd name="T31" fmla="*/ 2147483647 h 390"/>
                  <a:gd name="T32" fmla="*/ 2147483647 w 289"/>
                  <a:gd name="T33" fmla="*/ 2147483647 h 390"/>
                  <a:gd name="T34" fmla="*/ 2147483647 w 289"/>
                  <a:gd name="T35" fmla="*/ 2147483647 h 390"/>
                  <a:gd name="T36" fmla="*/ 2147483647 w 289"/>
                  <a:gd name="T37" fmla="*/ 2147483647 h 390"/>
                  <a:gd name="T38" fmla="*/ 2147483647 w 289"/>
                  <a:gd name="T39" fmla="*/ 2147483647 h 390"/>
                  <a:gd name="T40" fmla="*/ 2147483647 w 289"/>
                  <a:gd name="T41" fmla="*/ 2147483647 h 390"/>
                  <a:gd name="T42" fmla="*/ 2147483647 w 289"/>
                  <a:gd name="T43" fmla="*/ 2147483647 h 390"/>
                  <a:gd name="T44" fmla="*/ 2147483647 w 289"/>
                  <a:gd name="T45" fmla="*/ 2147483647 h 390"/>
                  <a:gd name="T46" fmla="*/ 2147483647 w 289"/>
                  <a:gd name="T47" fmla="*/ 2147483647 h 390"/>
                  <a:gd name="T48" fmla="*/ 2147483647 w 289"/>
                  <a:gd name="T49" fmla="*/ 2147483647 h 390"/>
                  <a:gd name="T50" fmla="*/ 2147483647 w 289"/>
                  <a:gd name="T51" fmla="*/ 2147483647 h 390"/>
                  <a:gd name="T52" fmla="*/ 2147483647 w 289"/>
                  <a:gd name="T53" fmla="*/ 2147483647 h 390"/>
                  <a:gd name="T54" fmla="*/ 2147483647 w 289"/>
                  <a:gd name="T55" fmla="*/ 2147483647 h 390"/>
                  <a:gd name="T56" fmla="*/ 2147483647 w 289"/>
                  <a:gd name="T57" fmla="*/ 2147483647 h 390"/>
                  <a:gd name="T58" fmla="*/ 2147483647 w 289"/>
                  <a:gd name="T59" fmla="*/ 2147483647 h 390"/>
                  <a:gd name="T60" fmla="*/ 2147483647 w 289"/>
                  <a:gd name="T61" fmla="*/ 2147483647 h 390"/>
                  <a:gd name="T62" fmla="*/ 2147483647 w 289"/>
                  <a:gd name="T63" fmla="*/ 2147483647 h 390"/>
                  <a:gd name="T64" fmla="*/ 2147483647 w 289"/>
                  <a:gd name="T65" fmla="*/ 2147483647 h 390"/>
                  <a:gd name="T66" fmla="*/ 2147483647 w 289"/>
                  <a:gd name="T67" fmla="*/ 2147483647 h 390"/>
                  <a:gd name="T68" fmla="*/ 2147483647 w 289"/>
                  <a:gd name="T69" fmla="*/ 2147483647 h 390"/>
                  <a:gd name="T70" fmla="*/ 2147483647 w 289"/>
                  <a:gd name="T71" fmla="*/ 2147483647 h 390"/>
                  <a:gd name="T72" fmla="*/ 2147483647 w 289"/>
                  <a:gd name="T73" fmla="*/ 2147483647 h 390"/>
                  <a:gd name="T74" fmla="*/ 2147483647 w 289"/>
                  <a:gd name="T75" fmla="*/ 2147483647 h 390"/>
                  <a:gd name="T76" fmla="*/ 2147483647 w 289"/>
                  <a:gd name="T77" fmla="*/ 2147483647 h 390"/>
                  <a:gd name="T78" fmla="*/ 2147483647 w 289"/>
                  <a:gd name="T79" fmla="*/ 2147483647 h 390"/>
                  <a:gd name="T80" fmla="*/ 2147483647 w 289"/>
                  <a:gd name="T81" fmla="*/ 2147483647 h 390"/>
                  <a:gd name="T82" fmla="*/ 2147483647 w 289"/>
                  <a:gd name="T83" fmla="*/ 2147483647 h 390"/>
                  <a:gd name="T84" fmla="*/ 2147483647 w 289"/>
                  <a:gd name="T85" fmla="*/ 2147483647 h 390"/>
                  <a:gd name="T86" fmla="*/ 2147483647 w 289"/>
                  <a:gd name="T87" fmla="*/ 2147483647 h 390"/>
                  <a:gd name="T88" fmla="*/ 2147483647 w 289"/>
                  <a:gd name="T89" fmla="*/ 2147483647 h 390"/>
                  <a:gd name="T90" fmla="*/ 2147483647 w 289"/>
                  <a:gd name="T91" fmla="*/ 2147483647 h 390"/>
                  <a:gd name="T92" fmla="*/ 2147483647 w 289"/>
                  <a:gd name="T93" fmla="*/ 2147483647 h 390"/>
                  <a:gd name="T94" fmla="*/ 2147483647 w 289"/>
                  <a:gd name="T95" fmla="*/ 2147483647 h 390"/>
                  <a:gd name="T96" fmla="*/ 2147483647 w 289"/>
                  <a:gd name="T97" fmla="*/ 2147483647 h 390"/>
                  <a:gd name="T98" fmla="*/ 2147483647 w 289"/>
                  <a:gd name="T99" fmla="*/ 2147483647 h 390"/>
                  <a:gd name="T100" fmla="*/ 2147483647 w 289"/>
                  <a:gd name="T101" fmla="*/ 2147483647 h 390"/>
                  <a:gd name="T102" fmla="*/ 2147483647 w 289"/>
                  <a:gd name="T103" fmla="*/ 2147483647 h 390"/>
                  <a:gd name="T104" fmla="*/ 2147483647 w 289"/>
                  <a:gd name="T105" fmla="*/ 2147483647 h 390"/>
                  <a:gd name="T106" fmla="*/ 2147483647 w 289"/>
                  <a:gd name="T107" fmla="*/ 2147483647 h 390"/>
                  <a:gd name="T108" fmla="*/ 2147483647 w 289"/>
                  <a:gd name="T109" fmla="*/ 2147483647 h 390"/>
                  <a:gd name="T110" fmla="*/ 2147483647 w 289"/>
                  <a:gd name="T111" fmla="*/ 2147483647 h 390"/>
                  <a:gd name="T112" fmla="*/ 2147483647 w 289"/>
                  <a:gd name="T113" fmla="*/ 2147483647 h 390"/>
                  <a:gd name="T114" fmla="*/ 2147483647 w 289"/>
                  <a:gd name="T115" fmla="*/ 2147483647 h 390"/>
                  <a:gd name="T116" fmla="*/ 2147483647 w 289"/>
                  <a:gd name="T117" fmla="*/ 2147483647 h 390"/>
                  <a:gd name="T118" fmla="*/ 2147483647 w 289"/>
                  <a:gd name="T119" fmla="*/ 2147483647 h 390"/>
                  <a:gd name="T120" fmla="*/ 2147483647 w 289"/>
                  <a:gd name="T121" fmla="*/ 2147483647 h 390"/>
                  <a:gd name="T122" fmla="*/ 2147483647 w 289"/>
                  <a:gd name="T123" fmla="*/ 2147483647 h 3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9"/>
                  <a:gd name="T187" fmla="*/ 0 h 390"/>
                  <a:gd name="T188" fmla="*/ 289 w 289"/>
                  <a:gd name="T189" fmla="*/ 390 h 3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9" h="390">
                    <a:moveTo>
                      <a:pt x="4" y="161"/>
                    </a:moveTo>
                    <a:cubicBezTo>
                      <a:pt x="4" y="161"/>
                      <a:pt x="15" y="146"/>
                      <a:pt x="5" y="143"/>
                    </a:cubicBezTo>
                    <a:cubicBezTo>
                      <a:pt x="5" y="143"/>
                      <a:pt x="0" y="136"/>
                      <a:pt x="5" y="112"/>
                    </a:cubicBezTo>
                    <a:cubicBezTo>
                      <a:pt x="5" y="112"/>
                      <a:pt x="14" y="106"/>
                      <a:pt x="8" y="96"/>
                    </a:cubicBezTo>
                    <a:cubicBezTo>
                      <a:pt x="1" y="85"/>
                      <a:pt x="17" y="84"/>
                      <a:pt x="12" y="77"/>
                    </a:cubicBezTo>
                    <a:cubicBezTo>
                      <a:pt x="12" y="77"/>
                      <a:pt x="5" y="71"/>
                      <a:pt x="9" y="63"/>
                    </a:cubicBezTo>
                    <a:cubicBezTo>
                      <a:pt x="13" y="61"/>
                      <a:pt x="8" y="53"/>
                      <a:pt x="16" y="46"/>
                    </a:cubicBezTo>
                    <a:cubicBezTo>
                      <a:pt x="16" y="46"/>
                      <a:pt x="8" y="39"/>
                      <a:pt x="13" y="30"/>
                    </a:cubicBezTo>
                    <a:cubicBezTo>
                      <a:pt x="16" y="31"/>
                      <a:pt x="18" y="30"/>
                      <a:pt x="20" y="29"/>
                    </a:cubicBezTo>
                    <a:cubicBezTo>
                      <a:pt x="20" y="29"/>
                      <a:pt x="31" y="32"/>
                      <a:pt x="30" y="15"/>
                    </a:cubicBezTo>
                    <a:cubicBezTo>
                      <a:pt x="30" y="15"/>
                      <a:pt x="25" y="1"/>
                      <a:pt x="38" y="2"/>
                    </a:cubicBezTo>
                    <a:cubicBezTo>
                      <a:pt x="49" y="0"/>
                      <a:pt x="44" y="11"/>
                      <a:pt x="56" y="15"/>
                    </a:cubicBezTo>
                    <a:cubicBezTo>
                      <a:pt x="56" y="15"/>
                      <a:pt x="67" y="21"/>
                      <a:pt x="73" y="17"/>
                    </a:cubicBezTo>
                    <a:cubicBezTo>
                      <a:pt x="73" y="17"/>
                      <a:pt x="87" y="11"/>
                      <a:pt x="96" y="26"/>
                    </a:cubicBezTo>
                    <a:cubicBezTo>
                      <a:pt x="96" y="26"/>
                      <a:pt x="115" y="28"/>
                      <a:pt x="115" y="33"/>
                    </a:cubicBezTo>
                    <a:cubicBezTo>
                      <a:pt x="115" y="33"/>
                      <a:pt x="126" y="47"/>
                      <a:pt x="137" y="33"/>
                    </a:cubicBezTo>
                    <a:cubicBezTo>
                      <a:pt x="137" y="33"/>
                      <a:pt x="145" y="8"/>
                      <a:pt x="155" y="36"/>
                    </a:cubicBezTo>
                    <a:cubicBezTo>
                      <a:pt x="155" y="36"/>
                      <a:pt x="160" y="52"/>
                      <a:pt x="176" y="45"/>
                    </a:cubicBezTo>
                    <a:cubicBezTo>
                      <a:pt x="176" y="45"/>
                      <a:pt x="181" y="39"/>
                      <a:pt x="192" y="46"/>
                    </a:cubicBezTo>
                    <a:cubicBezTo>
                      <a:pt x="192" y="46"/>
                      <a:pt x="203" y="43"/>
                      <a:pt x="201" y="56"/>
                    </a:cubicBezTo>
                    <a:cubicBezTo>
                      <a:pt x="201" y="56"/>
                      <a:pt x="204" y="70"/>
                      <a:pt x="221" y="67"/>
                    </a:cubicBezTo>
                    <a:cubicBezTo>
                      <a:pt x="221" y="67"/>
                      <a:pt x="226" y="81"/>
                      <a:pt x="242" y="68"/>
                    </a:cubicBezTo>
                    <a:cubicBezTo>
                      <a:pt x="242" y="68"/>
                      <a:pt x="245" y="57"/>
                      <a:pt x="260" y="58"/>
                    </a:cubicBezTo>
                    <a:cubicBezTo>
                      <a:pt x="260" y="58"/>
                      <a:pt x="276" y="61"/>
                      <a:pt x="261" y="72"/>
                    </a:cubicBezTo>
                    <a:cubicBezTo>
                      <a:pt x="261" y="72"/>
                      <a:pt x="245" y="77"/>
                      <a:pt x="265" y="98"/>
                    </a:cubicBezTo>
                    <a:cubicBezTo>
                      <a:pt x="265" y="98"/>
                      <a:pt x="288" y="117"/>
                      <a:pt x="258" y="146"/>
                    </a:cubicBezTo>
                    <a:cubicBezTo>
                      <a:pt x="255" y="170"/>
                      <a:pt x="240" y="158"/>
                      <a:pt x="235" y="165"/>
                    </a:cubicBezTo>
                    <a:cubicBezTo>
                      <a:pt x="235" y="165"/>
                      <a:pt x="219" y="168"/>
                      <a:pt x="232" y="183"/>
                    </a:cubicBezTo>
                    <a:cubicBezTo>
                      <a:pt x="232" y="183"/>
                      <a:pt x="231" y="194"/>
                      <a:pt x="251" y="191"/>
                    </a:cubicBezTo>
                    <a:cubicBezTo>
                      <a:pt x="251" y="191"/>
                      <a:pt x="257" y="191"/>
                      <a:pt x="262" y="195"/>
                    </a:cubicBezTo>
                    <a:cubicBezTo>
                      <a:pt x="273" y="181"/>
                      <a:pt x="280" y="194"/>
                      <a:pt x="269" y="202"/>
                    </a:cubicBezTo>
                    <a:cubicBezTo>
                      <a:pt x="269" y="202"/>
                      <a:pt x="272" y="209"/>
                      <a:pt x="254" y="205"/>
                    </a:cubicBezTo>
                    <a:cubicBezTo>
                      <a:pt x="254" y="205"/>
                      <a:pt x="245" y="197"/>
                      <a:pt x="236" y="213"/>
                    </a:cubicBezTo>
                    <a:cubicBezTo>
                      <a:pt x="236" y="213"/>
                      <a:pt x="232" y="224"/>
                      <a:pt x="232" y="238"/>
                    </a:cubicBezTo>
                    <a:cubicBezTo>
                      <a:pt x="232" y="238"/>
                      <a:pt x="226" y="252"/>
                      <a:pt x="243" y="249"/>
                    </a:cubicBezTo>
                    <a:cubicBezTo>
                      <a:pt x="243" y="249"/>
                      <a:pt x="259" y="244"/>
                      <a:pt x="259" y="268"/>
                    </a:cubicBezTo>
                    <a:cubicBezTo>
                      <a:pt x="259" y="268"/>
                      <a:pt x="271" y="285"/>
                      <a:pt x="265" y="290"/>
                    </a:cubicBezTo>
                    <a:cubicBezTo>
                      <a:pt x="265" y="290"/>
                      <a:pt x="252" y="294"/>
                      <a:pt x="269" y="297"/>
                    </a:cubicBezTo>
                    <a:cubicBezTo>
                      <a:pt x="269" y="297"/>
                      <a:pt x="289" y="289"/>
                      <a:pt x="269" y="319"/>
                    </a:cubicBezTo>
                    <a:cubicBezTo>
                      <a:pt x="269" y="319"/>
                      <a:pt x="262" y="334"/>
                      <a:pt x="262" y="364"/>
                    </a:cubicBezTo>
                    <a:cubicBezTo>
                      <a:pt x="263" y="387"/>
                      <a:pt x="265" y="385"/>
                      <a:pt x="247" y="386"/>
                    </a:cubicBezTo>
                    <a:cubicBezTo>
                      <a:pt x="247" y="386"/>
                      <a:pt x="223" y="383"/>
                      <a:pt x="194" y="389"/>
                    </a:cubicBezTo>
                    <a:cubicBezTo>
                      <a:pt x="194" y="389"/>
                      <a:pt x="185" y="390"/>
                      <a:pt x="170" y="390"/>
                    </a:cubicBezTo>
                    <a:cubicBezTo>
                      <a:pt x="170" y="390"/>
                      <a:pt x="170" y="390"/>
                      <a:pt x="170" y="390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0" y="378"/>
                      <a:pt x="170" y="378"/>
                    </a:cubicBezTo>
                    <a:cubicBezTo>
                      <a:pt x="170" y="378"/>
                      <a:pt x="174" y="363"/>
                      <a:pt x="154" y="362"/>
                    </a:cubicBezTo>
                    <a:cubicBezTo>
                      <a:pt x="154" y="362"/>
                      <a:pt x="141" y="367"/>
                      <a:pt x="137" y="356"/>
                    </a:cubicBezTo>
                    <a:cubicBezTo>
                      <a:pt x="137" y="356"/>
                      <a:pt x="147" y="348"/>
                      <a:pt x="111" y="343"/>
                    </a:cubicBezTo>
                    <a:cubicBezTo>
                      <a:pt x="111" y="343"/>
                      <a:pt x="115" y="327"/>
                      <a:pt x="89" y="304"/>
                    </a:cubicBezTo>
                    <a:cubicBezTo>
                      <a:pt x="89" y="304"/>
                      <a:pt x="91" y="296"/>
                      <a:pt x="73" y="295"/>
                    </a:cubicBezTo>
                    <a:cubicBezTo>
                      <a:pt x="74" y="279"/>
                      <a:pt x="63" y="285"/>
                      <a:pt x="64" y="272"/>
                    </a:cubicBezTo>
                    <a:cubicBezTo>
                      <a:pt x="64" y="272"/>
                      <a:pt x="56" y="268"/>
                      <a:pt x="62" y="251"/>
                    </a:cubicBezTo>
                    <a:cubicBezTo>
                      <a:pt x="69" y="247"/>
                      <a:pt x="56" y="243"/>
                      <a:pt x="60" y="238"/>
                    </a:cubicBezTo>
                    <a:cubicBezTo>
                      <a:pt x="60" y="238"/>
                      <a:pt x="72" y="236"/>
                      <a:pt x="53" y="222"/>
                    </a:cubicBezTo>
                    <a:cubicBezTo>
                      <a:pt x="53" y="222"/>
                      <a:pt x="56" y="209"/>
                      <a:pt x="39" y="209"/>
                    </a:cubicBezTo>
                    <a:cubicBezTo>
                      <a:pt x="39" y="209"/>
                      <a:pt x="17" y="210"/>
                      <a:pt x="30" y="201"/>
                    </a:cubicBezTo>
                    <a:cubicBezTo>
                      <a:pt x="40" y="198"/>
                      <a:pt x="28" y="194"/>
                      <a:pt x="30" y="185"/>
                    </a:cubicBezTo>
                    <a:cubicBezTo>
                      <a:pt x="30" y="185"/>
                      <a:pt x="33" y="166"/>
                      <a:pt x="19" y="173"/>
                    </a:cubicBezTo>
                    <a:cubicBezTo>
                      <a:pt x="19" y="173"/>
                      <a:pt x="9" y="175"/>
                      <a:pt x="10" y="169"/>
                    </a:cubicBezTo>
                    <a:cubicBezTo>
                      <a:pt x="10" y="169"/>
                      <a:pt x="14" y="162"/>
                      <a:pt x="4" y="161"/>
                    </a:cubicBezTo>
                    <a:cubicBezTo>
                      <a:pt x="4" y="161"/>
                      <a:pt x="4" y="161"/>
                      <a:pt x="4" y="161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09" name="Freeform 42"/>
              <p:cNvSpPr>
                <a:spLocks/>
              </p:cNvSpPr>
              <p:nvPr/>
            </p:nvSpPr>
            <p:spPr bwMode="auto">
              <a:xfrm>
                <a:off x="4005771" y="3600202"/>
                <a:ext cx="1370223" cy="800234"/>
              </a:xfrm>
              <a:custGeom>
                <a:avLst/>
                <a:gdLst>
                  <a:gd name="T0" fmla="*/ 2147483647 w 484"/>
                  <a:gd name="T1" fmla="*/ 2147483647 h 320"/>
                  <a:gd name="T2" fmla="*/ 2147483647 w 484"/>
                  <a:gd name="T3" fmla="*/ 2147483647 h 320"/>
                  <a:gd name="T4" fmla="*/ 2147483647 w 484"/>
                  <a:gd name="T5" fmla="*/ 2147483647 h 320"/>
                  <a:gd name="T6" fmla="*/ 2147483647 w 484"/>
                  <a:gd name="T7" fmla="*/ 2147483647 h 320"/>
                  <a:gd name="T8" fmla="*/ 2147483647 w 484"/>
                  <a:gd name="T9" fmla="*/ 2147483647 h 320"/>
                  <a:gd name="T10" fmla="*/ 2147483647 w 484"/>
                  <a:gd name="T11" fmla="*/ 2147483647 h 320"/>
                  <a:gd name="T12" fmla="*/ 2147483647 w 484"/>
                  <a:gd name="T13" fmla="*/ 2147483647 h 320"/>
                  <a:gd name="T14" fmla="*/ 2147483647 w 484"/>
                  <a:gd name="T15" fmla="*/ 2147483647 h 320"/>
                  <a:gd name="T16" fmla="*/ 2147483647 w 484"/>
                  <a:gd name="T17" fmla="*/ 2147483647 h 320"/>
                  <a:gd name="T18" fmla="*/ 2147483647 w 484"/>
                  <a:gd name="T19" fmla="*/ 2147483647 h 320"/>
                  <a:gd name="T20" fmla="*/ 2147483647 w 484"/>
                  <a:gd name="T21" fmla="*/ 2147483647 h 320"/>
                  <a:gd name="T22" fmla="*/ 2147483647 w 484"/>
                  <a:gd name="T23" fmla="*/ 2147483647 h 320"/>
                  <a:gd name="T24" fmla="*/ 2147483647 w 484"/>
                  <a:gd name="T25" fmla="*/ 2147483647 h 320"/>
                  <a:gd name="T26" fmla="*/ 2147483647 w 484"/>
                  <a:gd name="T27" fmla="*/ 2147483647 h 320"/>
                  <a:gd name="T28" fmla="*/ 2147483647 w 484"/>
                  <a:gd name="T29" fmla="*/ 2147483647 h 320"/>
                  <a:gd name="T30" fmla="*/ 2147483647 w 484"/>
                  <a:gd name="T31" fmla="*/ 2147483647 h 320"/>
                  <a:gd name="T32" fmla="*/ 2147483647 w 484"/>
                  <a:gd name="T33" fmla="*/ 2147483647 h 320"/>
                  <a:gd name="T34" fmla="*/ 2147483647 w 484"/>
                  <a:gd name="T35" fmla="*/ 2147483647 h 320"/>
                  <a:gd name="T36" fmla="*/ 2147483647 w 484"/>
                  <a:gd name="T37" fmla="*/ 2147483647 h 320"/>
                  <a:gd name="T38" fmla="*/ 2147483647 w 484"/>
                  <a:gd name="T39" fmla="*/ 2147483647 h 320"/>
                  <a:gd name="T40" fmla="*/ 2147483647 w 484"/>
                  <a:gd name="T41" fmla="*/ 2147483647 h 320"/>
                  <a:gd name="T42" fmla="*/ 2147483647 w 484"/>
                  <a:gd name="T43" fmla="*/ 2147483647 h 320"/>
                  <a:gd name="T44" fmla="*/ 2147483647 w 484"/>
                  <a:gd name="T45" fmla="*/ 2147483647 h 320"/>
                  <a:gd name="T46" fmla="*/ 2147483647 w 484"/>
                  <a:gd name="T47" fmla="*/ 2147483647 h 320"/>
                  <a:gd name="T48" fmla="*/ 2147483647 w 484"/>
                  <a:gd name="T49" fmla="*/ 2147483647 h 320"/>
                  <a:gd name="T50" fmla="*/ 2147483647 w 484"/>
                  <a:gd name="T51" fmla="*/ 2147483647 h 320"/>
                  <a:gd name="T52" fmla="*/ 2147483647 w 484"/>
                  <a:gd name="T53" fmla="*/ 2147483647 h 320"/>
                  <a:gd name="T54" fmla="*/ 2147483647 w 484"/>
                  <a:gd name="T55" fmla="*/ 2147483647 h 320"/>
                  <a:gd name="T56" fmla="*/ 2147483647 w 484"/>
                  <a:gd name="T57" fmla="*/ 2147483647 h 320"/>
                  <a:gd name="T58" fmla="*/ 2147483647 w 484"/>
                  <a:gd name="T59" fmla="*/ 2147483647 h 320"/>
                  <a:gd name="T60" fmla="*/ 2147483647 w 484"/>
                  <a:gd name="T61" fmla="*/ 2147483647 h 320"/>
                  <a:gd name="T62" fmla="*/ 2147483647 w 484"/>
                  <a:gd name="T63" fmla="*/ 2147483647 h 320"/>
                  <a:gd name="T64" fmla="*/ 2147483647 w 484"/>
                  <a:gd name="T65" fmla="*/ 2147483647 h 320"/>
                  <a:gd name="T66" fmla="*/ 2147483647 w 484"/>
                  <a:gd name="T67" fmla="*/ 2147483647 h 320"/>
                  <a:gd name="T68" fmla="*/ 2147483647 w 484"/>
                  <a:gd name="T69" fmla="*/ 2147483647 h 320"/>
                  <a:gd name="T70" fmla="*/ 2147483647 w 484"/>
                  <a:gd name="T71" fmla="*/ 2147483647 h 320"/>
                  <a:gd name="T72" fmla="*/ 2147483647 w 484"/>
                  <a:gd name="T73" fmla="*/ 2147483647 h 320"/>
                  <a:gd name="T74" fmla="*/ 2147483647 w 484"/>
                  <a:gd name="T75" fmla="*/ 2147483647 h 320"/>
                  <a:gd name="T76" fmla="*/ 2147483647 w 484"/>
                  <a:gd name="T77" fmla="*/ 2147483647 h 320"/>
                  <a:gd name="T78" fmla="*/ 2147483647 w 484"/>
                  <a:gd name="T79" fmla="*/ 2147483647 h 320"/>
                  <a:gd name="T80" fmla="*/ 2147483647 w 484"/>
                  <a:gd name="T81" fmla="*/ 2147483647 h 320"/>
                  <a:gd name="T82" fmla="*/ 2147483647 w 484"/>
                  <a:gd name="T83" fmla="*/ 2147483647 h 320"/>
                  <a:gd name="T84" fmla="*/ 2147483647 w 484"/>
                  <a:gd name="T85" fmla="*/ 2147483647 h 320"/>
                  <a:gd name="T86" fmla="*/ 2147483647 w 484"/>
                  <a:gd name="T87" fmla="*/ 2147483647 h 3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84"/>
                  <a:gd name="T133" fmla="*/ 0 h 320"/>
                  <a:gd name="T134" fmla="*/ 484 w 484"/>
                  <a:gd name="T135" fmla="*/ 320 h 3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84" h="320">
                    <a:moveTo>
                      <a:pt x="444" y="233"/>
                    </a:moveTo>
                    <a:cubicBezTo>
                      <a:pt x="433" y="228"/>
                      <a:pt x="429" y="234"/>
                      <a:pt x="429" y="234"/>
                    </a:cubicBezTo>
                    <a:cubicBezTo>
                      <a:pt x="425" y="239"/>
                      <a:pt x="417" y="233"/>
                      <a:pt x="417" y="233"/>
                    </a:cubicBezTo>
                    <a:cubicBezTo>
                      <a:pt x="405" y="243"/>
                      <a:pt x="404" y="236"/>
                      <a:pt x="404" y="236"/>
                    </a:cubicBezTo>
                    <a:cubicBezTo>
                      <a:pt x="395" y="226"/>
                      <a:pt x="393" y="233"/>
                      <a:pt x="393" y="233"/>
                    </a:cubicBezTo>
                    <a:cubicBezTo>
                      <a:pt x="382" y="238"/>
                      <a:pt x="382" y="229"/>
                      <a:pt x="382" y="229"/>
                    </a:cubicBezTo>
                    <a:cubicBezTo>
                      <a:pt x="396" y="219"/>
                      <a:pt x="379" y="215"/>
                      <a:pt x="379" y="215"/>
                    </a:cubicBezTo>
                    <a:cubicBezTo>
                      <a:pt x="370" y="203"/>
                      <a:pt x="374" y="196"/>
                      <a:pt x="374" y="196"/>
                    </a:cubicBezTo>
                    <a:cubicBezTo>
                      <a:pt x="369" y="205"/>
                      <a:pt x="366" y="199"/>
                      <a:pt x="366" y="199"/>
                    </a:cubicBezTo>
                    <a:cubicBezTo>
                      <a:pt x="365" y="186"/>
                      <a:pt x="354" y="196"/>
                      <a:pt x="354" y="196"/>
                    </a:cubicBezTo>
                    <a:cubicBezTo>
                      <a:pt x="343" y="196"/>
                      <a:pt x="337" y="190"/>
                      <a:pt x="337" y="190"/>
                    </a:cubicBezTo>
                    <a:cubicBezTo>
                      <a:pt x="327" y="181"/>
                      <a:pt x="317" y="192"/>
                      <a:pt x="317" y="192"/>
                    </a:cubicBezTo>
                    <a:cubicBezTo>
                      <a:pt x="306" y="199"/>
                      <a:pt x="297" y="192"/>
                      <a:pt x="297" y="192"/>
                    </a:cubicBezTo>
                    <a:cubicBezTo>
                      <a:pt x="279" y="188"/>
                      <a:pt x="272" y="192"/>
                      <a:pt x="272" y="192"/>
                    </a:cubicBezTo>
                    <a:cubicBezTo>
                      <a:pt x="270" y="193"/>
                      <a:pt x="269" y="192"/>
                      <a:pt x="267" y="191"/>
                    </a:cubicBezTo>
                    <a:cubicBezTo>
                      <a:pt x="265" y="190"/>
                      <a:pt x="264" y="191"/>
                      <a:pt x="262" y="192"/>
                    </a:cubicBezTo>
                    <a:cubicBezTo>
                      <a:pt x="249" y="188"/>
                      <a:pt x="246" y="199"/>
                      <a:pt x="246" y="199"/>
                    </a:cubicBezTo>
                    <a:cubicBezTo>
                      <a:pt x="228" y="197"/>
                      <a:pt x="229" y="206"/>
                      <a:pt x="229" y="206"/>
                    </a:cubicBezTo>
                    <a:cubicBezTo>
                      <a:pt x="231" y="210"/>
                      <a:pt x="225" y="215"/>
                      <a:pt x="225" y="215"/>
                    </a:cubicBezTo>
                    <a:cubicBezTo>
                      <a:pt x="232" y="215"/>
                      <a:pt x="238" y="224"/>
                      <a:pt x="238" y="224"/>
                    </a:cubicBezTo>
                    <a:cubicBezTo>
                      <a:pt x="245" y="227"/>
                      <a:pt x="227" y="226"/>
                      <a:pt x="227" y="236"/>
                    </a:cubicBezTo>
                    <a:cubicBezTo>
                      <a:pt x="227" y="240"/>
                      <a:pt x="239" y="247"/>
                      <a:pt x="239" y="247"/>
                    </a:cubicBezTo>
                    <a:cubicBezTo>
                      <a:pt x="235" y="267"/>
                      <a:pt x="253" y="261"/>
                      <a:pt x="244" y="273"/>
                    </a:cubicBezTo>
                    <a:cubicBezTo>
                      <a:pt x="242" y="277"/>
                      <a:pt x="242" y="287"/>
                      <a:pt x="242" y="287"/>
                    </a:cubicBezTo>
                    <a:cubicBezTo>
                      <a:pt x="246" y="305"/>
                      <a:pt x="237" y="302"/>
                      <a:pt x="237" y="302"/>
                    </a:cubicBezTo>
                    <a:cubicBezTo>
                      <a:pt x="221" y="303"/>
                      <a:pt x="220" y="298"/>
                      <a:pt x="220" y="298"/>
                    </a:cubicBezTo>
                    <a:cubicBezTo>
                      <a:pt x="203" y="291"/>
                      <a:pt x="192" y="300"/>
                      <a:pt x="192" y="300"/>
                    </a:cubicBezTo>
                    <a:cubicBezTo>
                      <a:pt x="187" y="306"/>
                      <a:pt x="175" y="309"/>
                      <a:pt x="175" y="309"/>
                    </a:cubicBezTo>
                    <a:cubicBezTo>
                      <a:pt x="165" y="309"/>
                      <a:pt x="160" y="314"/>
                      <a:pt x="160" y="314"/>
                    </a:cubicBezTo>
                    <a:cubicBezTo>
                      <a:pt x="150" y="315"/>
                      <a:pt x="136" y="314"/>
                      <a:pt x="136" y="314"/>
                    </a:cubicBezTo>
                    <a:cubicBezTo>
                      <a:pt x="127" y="317"/>
                      <a:pt x="126" y="312"/>
                      <a:pt x="126" y="312"/>
                    </a:cubicBezTo>
                    <a:cubicBezTo>
                      <a:pt x="115" y="306"/>
                      <a:pt x="110" y="313"/>
                      <a:pt x="110" y="313"/>
                    </a:cubicBezTo>
                    <a:cubicBezTo>
                      <a:pt x="82" y="319"/>
                      <a:pt x="85" y="309"/>
                      <a:pt x="85" y="309"/>
                    </a:cubicBezTo>
                    <a:cubicBezTo>
                      <a:pt x="75" y="294"/>
                      <a:pt x="66" y="308"/>
                      <a:pt x="66" y="308"/>
                    </a:cubicBezTo>
                    <a:cubicBezTo>
                      <a:pt x="64" y="312"/>
                      <a:pt x="55" y="306"/>
                      <a:pt x="55" y="313"/>
                    </a:cubicBezTo>
                    <a:cubicBezTo>
                      <a:pt x="52" y="320"/>
                      <a:pt x="46" y="309"/>
                      <a:pt x="46" y="309"/>
                    </a:cubicBezTo>
                    <a:cubicBezTo>
                      <a:pt x="44" y="305"/>
                      <a:pt x="33" y="306"/>
                      <a:pt x="33" y="306"/>
                    </a:cubicBezTo>
                    <a:cubicBezTo>
                      <a:pt x="28" y="299"/>
                      <a:pt x="20" y="302"/>
                      <a:pt x="20" y="302"/>
                    </a:cubicBezTo>
                    <a:cubicBezTo>
                      <a:pt x="6" y="298"/>
                      <a:pt x="11" y="289"/>
                      <a:pt x="11" y="289"/>
                    </a:cubicBezTo>
                    <a:cubicBezTo>
                      <a:pt x="0" y="273"/>
                      <a:pt x="14" y="275"/>
                      <a:pt x="14" y="275"/>
                    </a:cubicBezTo>
                    <a:cubicBezTo>
                      <a:pt x="21" y="270"/>
                      <a:pt x="15" y="254"/>
                      <a:pt x="15" y="254"/>
                    </a:cubicBezTo>
                    <a:cubicBezTo>
                      <a:pt x="19" y="243"/>
                      <a:pt x="12" y="239"/>
                      <a:pt x="12" y="239"/>
                    </a:cubicBezTo>
                    <a:cubicBezTo>
                      <a:pt x="8" y="232"/>
                      <a:pt x="11" y="225"/>
                      <a:pt x="11" y="225"/>
                    </a:cubicBezTo>
                    <a:cubicBezTo>
                      <a:pt x="18" y="210"/>
                      <a:pt x="35" y="207"/>
                      <a:pt x="35" y="207"/>
                    </a:cubicBezTo>
                    <a:cubicBezTo>
                      <a:pt x="37" y="192"/>
                      <a:pt x="52" y="192"/>
                      <a:pt x="52" y="192"/>
                    </a:cubicBezTo>
                    <a:cubicBezTo>
                      <a:pt x="75" y="180"/>
                      <a:pt x="66" y="162"/>
                      <a:pt x="66" y="162"/>
                    </a:cubicBezTo>
                    <a:cubicBezTo>
                      <a:pt x="66" y="145"/>
                      <a:pt x="62" y="141"/>
                      <a:pt x="62" y="141"/>
                    </a:cubicBezTo>
                    <a:cubicBezTo>
                      <a:pt x="53" y="129"/>
                      <a:pt x="69" y="121"/>
                      <a:pt x="69" y="121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86" y="115"/>
                      <a:pt x="86" y="115"/>
                      <a:pt x="86" y="115"/>
                    </a:cubicBezTo>
                    <a:cubicBezTo>
                      <a:pt x="98" y="108"/>
                      <a:pt x="99" y="100"/>
                      <a:pt x="99" y="100"/>
                    </a:cubicBezTo>
                    <a:cubicBezTo>
                      <a:pt x="96" y="93"/>
                      <a:pt x="80" y="94"/>
                      <a:pt x="80" y="94"/>
                    </a:cubicBezTo>
                    <a:cubicBezTo>
                      <a:pt x="53" y="79"/>
                      <a:pt x="80" y="79"/>
                      <a:pt x="80" y="79"/>
                    </a:cubicBezTo>
                    <a:cubicBezTo>
                      <a:pt x="96" y="72"/>
                      <a:pt x="100" y="82"/>
                      <a:pt x="100" y="82"/>
                    </a:cubicBezTo>
                    <a:cubicBezTo>
                      <a:pt x="100" y="82"/>
                      <a:pt x="100" y="82"/>
                      <a:pt x="100" y="82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0" y="65"/>
                      <a:pt x="110" y="65"/>
                      <a:pt x="110" y="65"/>
                    </a:cubicBezTo>
                    <a:cubicBezTo>
                      <a:pt x="118" y="69"/>
                      <a:pt x="133" y="76"/>
                      <a:pt x="133" y="76"/>
                    </a:cubicBezTo>
                    <a:cubicBezTo>
                      <a:pt x="151" y="89"/>
                      <a:pt x="154" y="79"/>
                      <a:pt x="154" y="79"/>
                    </a:cubicBezTo>
                    <a:cubicBezTo>
                      <a:pt x="154" y="79"/>
                      <a:pt x="161" y="72"/>
                      <a:pt x="157" y="59"/>
                    </a:cubicBezTo>
                    <a:cubicBezTo>
                      <a:pt x="157" y="59"/>
                      <a:pt x="147" y="56"/>
                      <a:pt x="161" y="42"/>
                    </a:cubicBezTo>
                    <a:cubicBezTo>
                      <a:pt x="161" y="42"/>
                      <a:pt x="164" y="22"/>
                      <a:pt x="176" y="23"/>
                    </a:cubicBezTo>
                    <a:cubicBezTo>
                      <a:pt x="189" y="9"/>
                      <a:pt x="202" y="12"/>
                      <a:pt x="206" y="8"/>
                    </a:cubicBezTo>
                    <a:cubicBezTo>
                      <a:pt x="213" y="1"/>
                      <a:pt x="224" y="9"/>
                      <a:pt x="234" y="4"/>
                    </a:cubicBezTo>
                    <a:cubicBezTo>
                      <a:pt x="236" y="9"/>
                      <a:pt x="257" y="0"/>
                      <a:pt x="267" y="15"/>
                    </a:cubicBezTo>
                    <a:cubicBezTo>
                      <a:pt x="285" y="31"/>
                      <a:pt x="293" y="40"/>
                      <a:pt x="305" y="37"/>
                    </a:cubicBezTo>
                    <a:cubicBezTo>
                      <a:pt x="319" y="39"/>
                      <a:pt x="335" y="37"/>
                      <a:pt x="335" y="37"/>
                    </a:cubicBezTo>
                    <a:cubicBezTo>
                      <a:pt x="362" y="21"/>
                      <a:pt x="360" y="53"/>
                      <a:pt x="360" y="53"/>
                    </a:cubicBezTo>
                    <a:cubicBezTo>
                      <a:pt x="383" y="63"/>
                      <a:pt x="378" y="71"/>
                      <a:pt x="378" y="71"/>
                    </a:cubicBezTo>
                    <a:cubicBezTo>
                      <a:pt x="381" y="82"/>
                      <a:pt x="388" y="83"/>
                      <a:pt x="388" y="83"/>
                    </a:cubicBezTo>
                    <a:cubicBezTo>
                      <a:pt x="400" y="88"/>
                      <a:pt x="398" y="99"/>
                      <a:pt x="398" y="99"/>
                    </a:cubicBezTo>
                    <a:cubicBezTo>
                      <a:pt x="400" y="119"/>
                      <a:pt x="411" y="99"/>
                      <a:pt x="411" y="99"/>
                    </a:cubicBezTo>
                    <a:cubicBezTo>
                      <a:pt x="418" y="80"/>
                      <a:pt x="431" y="89"/>
                      <a:pt x="431" y="89"/>
                    </a:cubicBezTo>
                    <a:cubicBezTo>
                      <a:pt x="433" y="98"/>
                      <a:pt x="448" y="89"/>
                      <a:pt x="448" y="89"/>
                    </a:cubicBezTo>
                    <a:cubicBezTo>
                      <a:pt x="463" y="93"/>
                      <a:pt x="455" y="97"/>
                      <a:pt x="455" y="97"/>
                    </a:cubicBezTo>
                    <a:cubicBezTo>
                      <a:pt x="449" y="103"/>
                      <a:pt x="459" y="107"/>
                      <a:pt x="460" y="99"/>
                    </a:cubicBezTo>
                    <a:cubicBezTo>
                      <a:pt x="466" y="93"/>
                      <a:pt x="473" y="97"/>
                      <a:pt x="473" y="97"/>
                    </a:cubicBezTo>
                    <a:cubicBezTo>
                      <a:pt x="473" y="100"/>
                      <a:pt x="462" y="106"/>
                      <a:pt x="466" y="117"/>
                    </a:cubicBezTo>
                    <a:cubicBezTo>
                      <a:pt x="461" y="142"/>
                      <a:pt x="469" y="142"/>
                      <a:pt x="469" y="142"/>
                    </a:cubicBezTo>
                    <a:cubicBezTo>
                      <a:pt x="479" y="144"/>
                      <a:pt x="480" y="155"/>
                      <a:pt x="480" y="155"/>
                    </a:cubicBezTo>
                    <a:cubicBezTo>
                      <a:pt x="484" y="164"/>
                      <a:pt x="477" y="167"/>
                      <a:pt x="477" y="167"/>
                    </a:cubicBezTo>
                    <a:cubicBezTo>
                      <a:pt x="469" y="168"/>
                      <a:pt x="477" y="182"/>
                      <a:pt x="477" y="182"/>
                    </a:cubicBezTo>
                    <a:cubicBezTo>
                      <a:pt x="484" y="199"/>
                      <a:pt x="463" y="192"/>
                      <a:pt x="463" y="192"/>
                    </a:cubicBezTo>
                    <a:cubicBezTo>
                      <a:pt x="450" y="177"/>
                      <a:pt x="443" y="188"/>
                      <a:pt x="443" y="188"/>
                    </a:cubicBezTo>
                    <a:cubicBezTo>
                      <a:pt x="434" y="199"/>
                      <a:pt x="443" y="206"/>
                      <a:pt x="443" y="206"/>
                    </a:cubicBezTo>
                    <a:cubicBezTo>
                      <a:pt x="453" y="214"/>
                      <a:pt x="443" y="217"/>
                      <a:pt x="443" y="217"/>
                    </a:cubicBezTo>
                    <a:cubicBezTo>
                      <a:pt x="429" y="219"/>
                      <a:pt x="444" y="233"/>
                      <a:pt x="444" y="233"/>
                    </a:cubicBezTo>
                    <a:cubicBezTo>
                      <a:pt x="444" y="233"/>
                      <a:pt x="444" y="233"/>
                      <a:pt x="444" y="2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0" name="Freeform 41"/>
              <p:cNvSpPr>
                <a:spLocks/>
              </p:cNvSpPr>
              <p:nvPr/>
            </p:nvSpPr>
            <p:spPr bwMode="auto">
              <a:xfrm>
                <a:off x="2845533" y="3153533"/>
                <a:ext cx="1120367" cy="824983"/>
              </a:xfrm>
              <a:custGeom>
                <a:avLst/>
                <a:gdLst>
                  <a:gd name="T0" fmla="*/ 2147483647 w 396"/>
                  <a:gd name="T1" fmla="*/ 2147483647 h 330"/>
                  <a:gd name="T2" fmla="*/ 2147483647 w 396"/>
                  <a:gd name="T3" fmla="*/ 2147483647 h 330"/>
                  <a:gd name="T4" fmla="*/ 2147483647 w 396"/>
                  <a:gd name="T5" fmla="*/ 2147483647 h 330"/>
                  <a:gd name="T6" fmla="*/ 2147483647 w 396"/>
                  <a:gd name="T7" fmla="*/ 2147483647 h 330"/>
                  <a:gd name="T8" fmla="*/ 2147483647 w 396"/>
                  <a:gd name="T9" fmla="*/ 2147483647 h 330"/>
                  <a:gd name="T10" fmla="*/ 2147483647 w 396"/>
                  <a:gd name="T11" fmla="*/ 2147483647 h 330"/>
                  <a:gd name="T12" fmla="*/ 2147483647 w 396"/>
                  <a:gd name="T13" fmla="*/ 2147483647 h 330"/>
                  <a:gd name="T14" fmla="*/ 2147483647 w 396"/>
                  <a:gd name="T15" fmla="*/ 2147483647 h 330"/>
                  <a:gd name="T16" fmla="*/ 2147483647 w 396"/>
                  <a:gd name="T17" fmla="*/ 2147483647 h 330"/>
                  <a:gd name="T18" fmla="*/ 2147483647 w 396"/>
                  <a:gd name="T19" fmla="*/ 2147483647 h 330"/>
                  <a:gd name="T20" fmla="*/ 2147483647 w 396"/>
                  <a:gd name="T21" fmla="*/ 2147483647 h 330"/>
                  <a:gd name="T22" fmla="*/ 2147483647 w 396"/>
                  <a:gd name="T23" fmla="*/ 2147483647 h 330"/>
                  <a:gd name="T24" fmla="*/ 2147483647 w 396"/>
                  <a:gd name="T25" fmla="*/ 2147483647 h 330"/>
                  <a:gd name="T26" fmla="*/ 2147483647 w 396"/>
                  <a:gd name="T27" fmla="*/ 2147483647 h 330"/>
                  <a:gd name="T28" fmla="*/ 2147483647 w 396"/>
                  <a:gd name="T29" fmla="*/ 2147483647 h 330"/>
                  <a:gd name="T30" fmla="*/ 2147483647 w 396"/>
                  <a:gd name="T31" fmla="*/ 2147483647 h 330"/>
                  <a:gd name="T32" fmla="*/ 2147483647 w 396"/>
                  <a:gd name="T33" fmla="*/ 2147483647 h 330"/>
                  <a:gd name="T34" fmla="*/ 2147483647 w 396"/>
                  <a:gd name="T35" fmla="*/ 2147483647 h 330"/>
                  <a:gd name="T36" fmla="*/ 2147483647 w 396"/>
                  <a:gd name="T37" fmla="*/ 2147483647 h 330"/>
                  <a:gd name="T38" fmla="*/ 2147483647 w 396"/>
                  <a:gd name="T39" fmla="*/ 2147483647 h 330"/>
                  <a:gd name="T40" fmla="*/ 2147483647 w 396"/>
                  <a:gd name="T41" fmla="*/ 2147483647 h 330"/>
                  <a:gd name="T42" fmla="*/ 2147483647 w 396"/>
                  <a:gd name="T43" fmla="*/ 2147483647 h 330"/>
                  <a:gd name="T44" fmla="*/ 2147483647 w 396"/>
                  <a:gd name="T45" fmla="*/ 2147483647 h 330"/>
                  <a:gd name="T46" fmla="*/ 2147483647 w 396"/>
                  <a:gd name="T47" fmla="*/ 2147483647 h 330"/>
                  <a:gd name="T48" fmla="*/ 2147483647 w 396"/>
                  <a:gd name="T49" fmla="*/ 2147483647 h 330"/>
                  <a:gd name="T50" fmla="*/ 2147483647 w 396"/>
                  <a:gd name="T51" fmla="*/ 2147483647 h 330"/>
                  <a:gd name="T52" fmla="*/ 2147483647 w 396"/>
                  <a:gd name="T53" fmla="*/ 2147483647 h 330"/>
                  <a:gd name="T54" fmla="*/ 2147483647 w 396"/>
                  <a:gd name="T55" fmla="*/ 2147483647 h 330"/>
                  <a:gd name="T56" fmla="*/ 2147483647 w 396"/>
                  <a:gd name="T57" fmla="*/ 2147483647 h 330"/>
                  <a:gd name="T58" fmla="*/ 2147483647 w 396"/>
                  <a:gd name="T59" fmla="*/ 2147483647 h 330"/>
                  <a:gd name="T60" fmla="*/ 2147483647 w 396"/>
                  <a:gd name="T61" fmla="*/ 2147483647 h 330"/>
                  <a:gd name="T62" fmla="*/ 2147483647 w 396"/>
                  <a:gd name="T63" fmla="*/ 2147483647 h 330"/>
                  <a:gd name="T64" fmla="*/ 2147483647 w 396"/>
                  <a:gd name="T65" fmla="*/ 2147483647 h 330"/>
                  <a:gd name="T66" fmla="*/ 2147483647 w 396"/>
                  <a:gd name="T67" fmla="*/ 2147483647 h 330"/>
                  <a:gd name="T68" fmla="*/ 2147483647 w 396"/>
                  <a:gd name="T69" fmla="*/ 2147483647 h 330"/>
                  <a:gd name="T70" fmla="*/ 2147483647 w 396"/>
                  <a:gd name="T71" fmla="*/ 2147483647 h 330"/>
                  <a:gd name="T72" fmla="*/ 2147483647 w 396"/>
                  <a:gd name="T73" fmla="*/ 2147483647 h 330"/>
                  <a:gd name="T74" fmla="*/ 2147483647 w 396"/>
                  <a:gd name="T75" fmla="*/ 2147483647 h 330"/>
                  <a:gd name="T76" fmla="*/ 2147483647 w 396"/>
                  <a:gd name="T77" fmla="*/ 2147483647 h 330"/>
                  <a:gd name="T78" fmla="*/ 2147483647 w 396"/>
                  <a:gd name="T79" fmla="*/ 2147483647 h 330"/>
                  <a:gd name="T80" fmla="*/ 2147483647 w 396"/>
                  <a:gd name="T81" fmla="*/ 2147483647 h 330"/>
                  <a:gd name="T82" fmla="*/ 2147483647 w 396"/>
                  <a:gd name="T83" fmla="*/ 2147483647 h 330"/>
                  <a:gd name="T84" fmla="*/ 2147483647 w 396"/>
                  <a:gd name="T85" fmla="*/ 2147483647 h 330"/>
                  <a:gd name="T86" fmla="*/ 2147483647 w 396"/>
                  <a:gd name="T87" fmla="*/ 2147483647 h 330"/>
                  <a:gd name="T88" fmla="*/ 2147483647 w 396"/>
                  <a:gd name="T89" fmla="*/ 2147483647 h 330"/>
                  <a:gd name="T90" fmla="*/ 2147483647 w 396"/>
                  <a:gd name="T91" fmla="*/ 2147483647 h 330"/>
                  <a:gd name="T92" fmla="*/ 2147483647 w 396"/>
                  <a:gd name="T93" fmla="*/ 2147483647 h 330"/>
                  <a:gd name="T94" fmla="*/ 2147483647 w 396"/>
                  <a:gd name="T95" fmla="*/ 2147483647 h 330"/>
                  <a:gd name="T96" fmla="*/ 2147483647 w 396"/>
                  <a:gd name="T97" fmla="*/ 2147483647 h 330"/>
                  <a:gd name="T98" fmla="*/ 2147483647 w 396"/>
                  <a:gd name="T99" fmla="*/ 2147483647 h 330"/>
                  <a:gd name="T100" fmla="*/ 2147483647 w 396"/>
                  <a:gd name="T101" fmla="*/ 2147483647 h 330"/>
                  <a:gd name="T102" fmla="*/ 2147483647 w 396"/>
                  <a:gd name="T103" fmla="*/ 0 h 330"/>
                  <a:gd name="T104" fmla="*/ 2147483647 w 396"/>
                  <a:gd name="T105" fmla="*/ 2147483647 h 330"/>
                  <a:gd name="T106" fmla="*/ 2147483647 w 396"/>
                  <a:gd name="T107" fmla="*/ 2147483647 h 330"/>
                  <a:gd name="T108" fmla="*/ 2147483647 w 396"/>
                  <a:gd name="T109" fmla="*/ 2147483647 h 330"/>
                  <a:gd name="T110" fmla="*/ 2147483647 w 396"/>
                  <a:gd name="T111" fmla="*/ 2147483647 h 330"/>
                  <a:gd name="T112" fmla="*/ 2147483647 w 396"/>
                  <a:gd name="T113" fmla="*/ 2147483647 h 330"/>
                  <a:gd name="T114" fmla="*/ 2147483647 w 396"/>
                  <a:gd name="T115" fmla="*/ 2147483647 h 330"/>
                  <a:gd name="T116" fmla="*/ 2147483647 w 396"/>
                  <a:gd name="T117" fmla="*/ 2147483647 h 330"/>
                  <a:gd name="T118" fmla="*/ 2147483647 w 396"/>
                  <a:gd name="T119" fmla="*/ 2147483647 h 330"/>
                  <a:gd name="T120" fmla="*/ 2147483647 w 396"/>
                  <a:gd name="T121" fmla="*/ 2147483647 h 330"/>
                  <a:gd name="T122" fmla="*/ 2147483647 w 396"/>
                  <a:gd name="T123" fmla="*/ 2147483647 h 330"/>
                  <a:gd name="T124" fmla="*/ 2147483647 w 396"/>
                  <a:gd name="T125" fmla="*/ 2147483647 h 33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330"/>
                  <a:gd name="T191" fmla="*/ 396 w 396"/>
                  <a:gd name="T192" fmla="*/ 330 h 33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330">
                    <a:moveTo>
                      <a:pt x="385" y="177"/>
                    </a:moveTo>
                    <a:cubicBezTo>
                      <a:pt x="374" y="195"/>
                      <a:pt x="385" y="191"/>
                      <a:pt x="389" y="206"/>
                    </a:cubicBezTo>
                    <a:cubicBezTo>
                      <a:pt x="389" y="206"/>
                      <a:pt x="396" y="220"/>
                      <a:pt x="389" y="228"/>
                    </a:cubicBezTo>
                    <a:cubicBezTo>
                      <a:pt x="380" y="238"/>
                      <a:pt x="380" y="226"/>
                      <a:pt x="372" y="230"/>
                    </a:cubicBezTo>
                    <a:cubicBezTo>
                      <a:pt x="372" y="230"/>
                      <a:pt x="365" y="239"/>
                      <a:pt x="355" y="235"/>
                    </a:cubicBezTo>
                    <a:cubicBezTo>
                      <a:pt x="355" y="235"/>
                      <a:pt x="354" y="224"/>
                      <a:pt x="342" y="217"/>
                    </a:cubicBezTo>
                    <a:cubicBezTo>
                      <a:pt x="342" y="217"/>
                      <a:pt x="335" y="217"/>
                      <a:pt x="332" y="209"/>
                    </a:cubicBezTo>
                    <a:cubicBezTo>
                      <a:pt x="332" y="209"/>
                      <a:pt x="325" y="217"/>
                      <a:pt x="319" y="221"/>
                    </a:cubicBezTo>
                    <a:cubicBezTo>
                      <a:pt x="319" y="221"/>
                      <a:pt x="310" y="223"/>
                      <a:pt x="311" y="233"/>
                    </a:cubicBezTo>
                    <a:cubicBezTo>
                      <a:pt x="311" y="233"/>
                      <a:pt x="313" y="248"/>
                      <a:pt x="301" y="242"/>
                    </a:cubicBezTo>
                    <a:cubicBezTo>
                      <a:pt x="301" y="242"/>
                      <a:pt x="296" y="232"/>
                      <a:pt x="288" y="244"/>
                    </a:cubicBezTo>
                    <a:cubicBezTo>
                      <a:pt x="288" y="244"/>
                      <a:pt x="279" y="259"/>
                      <a:pt x="275" y="243"/>
                    </a:cubicBezTo>
                    <a:cubicBezTo>
                      <a:pt x="275" y="243"/>
                      <a:pt x="260" y="234"/>
                      <a:pt x="250" y="240"/>
                    </a:cubicBezTo>
                    <a:cubicBezTo>
                      <a:pt x="250" y="240"/>
                      <a:pt x="232" y="234"/>
                      <a:pt x="238" y="252"/>
                    </a:cubicBezTo>
                    <a:cubicBezTo>
                      <a:pt x="238" y="252"/>
                      <a:pt x="229" y="261"/>
                      <a:pt x="230" y="270"/>
                    </a:cubicBezTo>
                    <a:cubicBezTo>
                      <a:pt x="230" y="270"/>
                      <a:pt x="212" y="282"/>
                      <a:pt x="209" y="274"/>
                    </a:cubicBezTo>
                    <a:cubicBezTo>
                      <a:pt x="209" y="274"/>
                      <a:pt x="205" y="265"/>
                      <a:pt x="192" y="273"/>
                    </a:cubicBezTo>
                    <a:cubicBezTo>
                      <a:pt x="192" y="273"/>
                      <a:pt x="182" y="281"/>
                      <a:pt x="178" y="273"/>
                    </a:cubicBezTo>
                    <a:cubicBezTo>
                      <a:pt x="178" y="273"/>
                      <a:pt x="161" y="268"/>
                      <a:pt x="139" y="272"/>
                    </a:cubicBezTo>
                    <a:cubicBezTo>
                      <a:pt x="139" y="272"/>
                      <a:pt x="128" y="268"/>
                      <a:pt x="127" y="286"/>
                    </a:cubicBezTo>
                    <a:cubicBezTo>
                      <a:pt x="127" y="286"/>
                      <a:pt x="118" y="296"/>
                      <a:pt x="122" y="300"/>
                    </a:cubicBezTo>
                    <a:cubicBezTo>
                      <a:pt x="122" y="300"/>
                      <a:pt x="127" y="309"/>
                      <a:pt x="115" y="306"/>
                    </a:cubicBezTo>
                    <a:cubicBezTo>
                      <a:pt x="115" y="306"/>
                      <a:pt x="102" y="302"/>
                      <a:pt x="87" y="320"/>
                    </a:cubicBezTo>
                    <a:cubicBezTo>
                      <a:pt x="81" y="325"/>
                      <a:pt x="76" y="311"/>
                      <a:pt x="59" y="330"/>
                    </a:cubicBezTo>
                    <a:cubicBezTo>
                      <a:pt x="44" y="325"/>
                      <a:pt x="56" y="318"/>
                      <a:pt x="56" y="318"/>
                    </a:cubicBezTo>
                    <a:cubicBezTo>
                      <a:pt x="62" y="303"/>
                      <a:pt x="51" y="301"/>
                      <a:pt x="51" y="301"/>
                    </a:cubicBezTo>
                    <a:cubicBezTo>
                      <a:pt x="46" y="300"/>
                      <a:pt x="58" y="285"/>
                      <a:pt x="44" y="286"/>
                    </a:cubicBezTo>
                    <a:cubicBezTo>
                      <a:pt x="35" y="283"/>
                      <a:pt x="45" y="274"/>
                      <a:pt x="33" y="265"/>
                    </a:cubicBezTo>
                    <a:cubicBezTo>
                      <a:pt x="21" y="263"/>
                      <a:pt x="31" y="250"/>
                      <a:pt x="23" y="253"/>
                    </a:cubicBezTo>
                    <a:cubicBezTo>
                      <a:pt x="17" y="252"/>
                      <a:pt x="21" y="241"/>
                      <a:pt x="21" y="241"/>
                    </a:cubicBezTo>
                    <a:cubicBezTo>
                      <a:pt x="10" y="239"/>
                      <a:pt x="16" y="224"/>
                      <a:pt x="16" y="224"/>
                    </a:cubicBezTo>
                    <a:cubicBezTo>
                      <a:pt x="0" y="224"/>
                      <a:pt x="11" y="211"/>
                      <a:pt x="15" y="213"/>
                    </a:cubicBezTo>
                    <a:cubicBezTo>
                      <a:pt x="26" y="199"/>
                      <a:pt x="20" y="187"/>
                      <a:pt x="20" y="187"/>
                    </a:cubicBezTo>
                    <a:cubicBezTo>
                      <a:pt x="31" y="182"/>
                      <a:pt x="24" y="195"/>
                      <a:pt x="31" y="193"/>
                    </a:cubicBezTo>
                    <a:cubicBezTo>
                      <a:pt x="40" y="195"/>
                      <a:pt x="47" y="185"/>
                      <a:pt x="47" y="185"/>
                    </a:cubicBezTo>
                    <a:cubicBezTo>
                      <a:pt x="51" y="176"/>
                      <a:pt x="68" y="177"/>
                      <a:pt x="68" y="177"/>
                    </a:cubicBezTo>
                    <a:cubicBezTo>
                      <a:pt x="73" y="162"/>
                      <a:pt x="82" y="177"/>
                      <a:pt x="82" y="177"/>
                    </a:cubicBezTo>
                    <a:cubicBezTo>
                      <a:pt x="93" y="177"/>
                      <a:pt x="99" y="183"/>
                      <a:pt x="99" y="183"/>
                    </a:cubicBezTo>
                    <a:cubicBezTo>
                      <a:pt x="106" y="188"/>
                      <a:pt x="104" y="173"/>
                      <a:pt x="104" y="173"/>
                    </a:cubicBezTo>
                    <a:cubicBezTo>
                      <a:pt x="104" y="155"/>
                      <a:pt x="114" y="167"/>
                      <a:pt x="114" y="167"/>
                    </a:cubicBezTo>
                    <a:cubicBezTo>
                      <a:pt x="137" y="158"/>
                      <a:pt x="144" y="166"/>
                      <a:pt x="144" y="166"/>
                    </a:cubicBezTo>
                    <a:cubicBezTo>
                      <a:pt x="167" y="166"/>
                      <a:pt x="169" y="153"/>
                      <a:pt x="169" y="153"/>
                    </a:cubicBezTo>
                    <a:cubicBezTo>
                      <a:pt x="170" y="144"/>
                      <a:pt x="187" y="135"/>
                      <a:pt x="187" y="135"/>
                    </a:cubicBezTo>
                    <a:cubicBezTo>
                      <a:pt x="187" y="126"/>
                      <a:pt x="188" y="118"/>
                      <a:pt x="188" y="118"/>
                    </a:cubicBezTo>
                    <a:cubicBezTo>
                      <a:pt x="195" y="107"/>
                      <a:pt x="194" y="90"/>
                      <a:pt x="194" y="90"/>
                    </a:cubicBezTo>
                    <a:cubicBezTo>
                      <a:pt x="194" y="63"/>
                      <a:pt x="209" y="70"/>
                      <a:pt x="209" y="70"/>
                    </a:cubicBezTo>
                    <a:cubicBezTo>
                      <a:pt x="217" y="58"/>
                      <a:pt x="227" y="69"/>
                      <a:pt x="227" y="69"/>
                    </a:cubicBezTo>
                    <a:cubicBezTo>
                      <a:pt x="234" y="76"/>
                      <a:pt x="251" y="72"/>
                      <a:pt x="251" y="72"/>
                    </a:cubicBezTo>
                    <a:cubicBezTo>
                      <a:pt x="266" y="74"/>
                      <a:pt x="268" y="46"/>
                      <a:pt x="268" y="46"/>
                    </a:cubicBezTo>
                    <a:cubicBezTo>
                      <a:pt x="279" y="43"/>
                      <a:pt x="273" y="30"/>
                      <a:pt x="273" y="30"/>
                    </a:cubicBezTo>
                    <a:cubicBezTo>
                      <a:pt x="274" y="22"/>
                      <a:pt x="287" y="22"/>
                      <a:pt x="284" y="17"/>
                    </a:cubicBezTo>
                    <a:cubicBezTo>
                      <a:pt x="282" y="5"/>
                      <a:pt x="301" y="0"/>
                      <a:pt x="301" y="0"/>
                    </a:cubicBezTo>
                    <a:cubicBezTo>
                      <a:pt x="302" y="15"/>
                      <a:pt x="316" y="16"/>
                      <a:pt x="316" y="16"/>
                    </a:cubicBezTo>
                    <a:cubicBezTo>
                      <a:pt x="316" y="38"/>
                      <a:pt x="325" y="36"/>
                      <a:pt x="325" y="36"/>
                    </a:cubicBezTo>
                    <a:cubicBezTo>
                      <a:pt x="333" y="36"/>
                      <a:pt x="335" y="47"/>
                      <a:pt x="335" y="47"/>
                    </a:cubicBezTo>
                    <a:cubicBezTo>
                      <a:pt x="341" y="52"/>
                      <a:pt x="337" y="65"/>
                      <a:pt x="337" y="65"/>
                    </a:cubicBezTo>
                    <a:cubicBezTo>
                      <a:pt x="324" y="67"/>
                      <a:pt x="344" y="80"/>
                      <a:pt x="344" y="80"/>
                    </a:cubicBezTo>
                    <a:cubicBezTo>
                      <a:pt x="359" y="86"/>
                      <a:pt x="359" y="98"/>
                      <a:pt x="359" y="98"/>
                    </a:cubicBezTo>
                    <a:cubicBezTo>
                      <a:pt x="376" y="100"/>
                      <a:pt x="374" y="111"/>
                      <a:pt x="374" y="111"/>
                    </a:cubicBezTo>
                    <a:cubicBezTo>
                      <a:pt x="388" y="124"/>
                      <a:pt x="375" y="125"/>
                      <a:pt x="375" y="125"/>
                    </a:cubicBezTo>
                    <a:cubicBezTo>
                      <a:pt x="366" y="136"/>
                      <a:pt x="376" y="147"/>
                      <a:pt x="376" y="147"/>
                    </a:cubicBezTo>
                    <a:cubicBezTo>
                      <a:pt x="386" y="159"/>
                      <a:pt x="385" y="177"/>
                      <a:pt x="385" y="177"/>
                    </a:cubicBezTo>
                    <a:cubicBezTo>
                      <a:pt x="385" y="177"/>
                      <a:pt x="385" y="177"/>
                      <a:pt x="385" y="17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1" name="Freeform 40"/>
              <p:cNvSpPr>
                <a:spLocks/>
              </p:cNvSpPr>
              <p:nvPr/>
            </p:nvSpPr>
            <p:spPr bwMode="auto">
              <a:xfrm>
                <a:off x="2896036" y="3596666"/>
                <a:ext cx="1420726" cy="711843"/>
              </a:xfrm>
              <a:custGeom>
                <a:avLst/>
                <a:gdLst>
                  <a:gd name="T0" fmla="*/ 2147483647 w 502"/>
                  <a:gd name="T1" fmla="*/ 2147483647 h 285"/>
                  <a:gd name="T2" fmla="*/ 2147483647 w 502"/>
                  <a:gd name="T3" fmla="*/ 2147483647 h 285"/>
                  <a:gd name="T4" fmla="*/ 2147483647 w 502"/>
                  <a:gd name="T5" fmla="*/ 2147483647 h 285"/>
                  <a:gd name="T6" fmla="*/ 2147483647 w 502"/>
                  <a:gd name="T7" fmla="*/ 2147483647 h 285"/>
                  <a:gd name="T8" fmla="*/ 2147483647 w 502"/>
                  <a:gd name="T9" fmla="*/ 2147483647 h 285"/>
                  <a:gd name="T10" fmla="*/ 2147483647 w 502"/>
                  <a:gd name="T11" fmla="*/ 2147483647 h 285"/>
                  <a:gd name="T12" fmla="*/ 2147483647 w 502"/>
                  <a:gd name="T13" fmla="*/ 2147483647 h 285"/>
                  <a:gd name="T14" fmla="*/ 2147483647 w 502"/>
                  <a:gd name="T15" fmla="*/ 2147483647 h 285"/>
                  <a:gd name="T16" fmla="*/ 2147483647 w 502"/>
                  <a:gd name="T17" fmla="*/ 2147483647 h 285"/>
                  <a:gd name="T18" fmla="*/ 2147483647 w 502"/>
                  <a:gd name="T19" fmla="*/ 2147483647 h 285"/>
                  <a:gd name="T20" fmla="*/ 2147483647 w 502"/>
                  <a:gd name="T21" fmla="*/ 2147483647 h 285"/>
                  <a:gd name="T22" fmla="*/ 2147483647 w 502"/>
                  <a:gd name="T23" fmla="*/ 2147483647 h 285"/>
                  <a:gd name="T24" fmla="*/ 2147483647 w 502"/>
                  <a:gd name="T25" fmla="*/ 2147483647 h 285"/>
                  <a:gd name="T26" fmla="*/ 2147483647 w 502"/>
                  <a:gd name="T27" fmla="*/ 2147483647 h 285"/>
                  <a:gd name="T28" fmla="*/ 2147483647 w 502"/>
                  <a:gd name="T29" fmla="*/ 2147483647 h 285"/>
                  <a:gd name="T30" fmla="*/ 2147483647 w 502"/>
                  <a:gd name="T31" fmla="*/ 2147483647 h 285"/>
                  <a:gd name="T32" fmla="*/ 2147483647 w 502"/>
                  <a:gd name="T33" fmla="*/ 2147483647 h 285"/>
                  <a:gd name="T34" fmla="*/ 2147483647 w 502"/>
                  <a:gd name="T35" fmla="*/ 2147483647 h 285"/>
                  <a:gd name="T36" fmla="*/ 2147483647 w 502"/>
                  <a:gd name="T37" fmla="*/ 2147483647 h 285"/>
                  <a:gd name="T38" fmla="*/ 2147483647 w 502"/>
                  <a:gd name="T39" fmla="*/ 2147483647 h 285"/>
                  <a:gd name="T40" fmla="*/ 2147483647 w 502"/>
                  <a:gd name="T41" fmla="*/ 2147483647 h 285"/>
                  <a:gd name="T42" fmla="*/ 2147483647 w 502"/>
                  <a:gd name="T43" fmla="*/ 2147483647 h 285"/>
                  <a:gd name="T44" fmla="*/ 2147483647 w 502"/>
                  <a:gd name="T45" fmla="*/ 2147483647 h 285"/>
                  <a:gd name="T46" fmla="*/ 2147483647 w 502"/>
                  <a:gd name="T47" fmla="*/ 2147483647 h 285"/>
                  <a:gd name="T48" fmla="*/ 2147483647 w 502"/>
                  <a:gd name="T49" fmla="*/ 2147483647 h 285"/>
                  <a:gd name="T50" fmla="*/ 2147483647 w 502"/>
                  <a:gd name="T51" fmla="*/ 2147483647 h 285"/>
                  <a:gd name="T52" fmla="*/ 2147483647 w 502"/>
                  <a:gd name="T53" fmla="*/ 2147483647 h 285"/>
                  <a:gd name="T54" fmla="*/ 2147483647 w 502"/>
                  <a:gd name="T55" fmla="*/ 2147483647 h 285"/>
                  <a:gd name="T56" fmla="*/ 2147483647 w 502"/>
                  <a:gd name="T57" fmla="*/ 2147483647 h 285"/>
                  <a:gd name="T58" fmla="*/ 2147483647 w 502"/>
                  <a:gd name="T59" fmla="*/ 2147483647 h 285"/>
                  <a:gd name="T60" fmla="*/ 2147483647 w 502"/>
                  <a:gd name="T61" fmla="*/ 2147483647 h 285"/>
                  <a:gd name="T62" fmla="*/ 2147483647 w 502"/>
                  <a:gd name="T63" fmla="*/ 2147483647 h 285"/>
                  <a:gd name="T64" fmla="*/ 2147483647 w 502"/>
                  <a:gd name="T65" fmla="*/ 2147483647 h 285"/>
                  <a:gd name="T66" fmla="*/ 2147483647 w 502"/>
                  <a:gd name="T67" fmla="*/ 2147483647 h 285"/>
                  <a:gd name="T68" fmla="*/ 2147483647 w 502"/>
                  <a:gd name="T69" fmla="*/ 2147483647 h 28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02"/>
                  <a:gd name="T106" fmla="*/ 0 h 285"/>
                  <a:gd name="T107" fmla="*/ 502 w 502"/>
                  <a:gd name="T108" fmla="*/ 285 h 285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02" h="285">
                    <a:moveTo>
                      <a:pt x="403" y="227"/>
                    </a:moveTo>
                    <a:cubicBezTo>
                      <a:pt x="385" y="209"/>
                      <a:pt x="389" y="236"/>
                      <a:pt x="375" y="231"/>
                    </a:cubicBezTo>
                    <a:cubicBezTo>
                      <a:pt x="375" y="231"/>
                      <a:pt x="358" y="223"/>
                      <a:pt x="358" y="249"/>
                    </a:cubicBezTo>
                    <a:cubicBezTo>
                      <a:pt x="358" y="249"/>
                      <a:pt x="365" y="273"/>
                      <a:pt x="328" y="267"/>
                    </a:cubicBezTo>
                    <a:cubicBezTo>
                      <a:pt x="328" y="267"/>
                      <a:pt x="310" y="253"/>
                      <a:pt x="304" y="267"/>
                    </a:cubicBezTo>
                    <a:cubicBezTo>
                      <a:pt x="304" y="267"/>
                      <a:pt x="292" y="285"/>
                      <a:pt x="289" y="271"/>
                    </a:cubicBezTo>
                    <a:cubicBezTo>
                      <a:pt x="289" y="271"/>
                      <a:pt x="282" y="257"/>
                      <a:pt x="272" y="267"/>
                    </a:cubicBezTo>
                    <a:cubicBezTo>
                      <a:pt x="272" y="267"/>
                      <a:pt x="255" y="273"/>
                      <a:pt x="263" y="256"/>
                    </a:cubicBezTo>
                    <a:cubicBezTo>
                      <a:pt x="263" y="256"/>
                      <a:pt x="263" y="244"/>
                      <a:pt x="253" y="240"/>
                    </a:cubicBezTo>
                    <a:cubicBezTo>
                      <a:pt x="253" y="240"/>
                      <a:pt x="235" y="228"/>
                      <a:pt x="246" y="225"/>
                    </a:cubicBezTo>
                    <a:cubicBezTo>
                      <a:pt x="246" y="225"/>
                      <a:pt x="259" y="214"/>
                      <a:pt x="237" y="212"/>
                    </a:cubicBezTo>
                    <a:cubicBezTo>
                      <a:pt x="237" y="212"/>
                      <a:pt x="232" y="204"/>
                      <a:pt x="218" y="219"/>
                    </a:cubicBezTo>
                    <a:cubicBezTo>
                      <a:pt x="218" y="219"/>
                      <a:pt x="223" y="206"/>
                      <a:pt x="202" y="209"/>
                    </a:cubicBezTo>
                    <a:cubicBezTo>
                      <a:pt x="202" y="209"/>
                      <a:pt x="184" y="214"/>
                      <a:pt x="181" y="201"/>
                    </a:cubicBezTo>
                    <a:cubicBezTo>
                      <a:pt x="181" y="201"/>
                      <a:pt x="173" y="181"/>
                      <a:pt x="151" y="197"/>
                    </a:cubicBezTo>
                    <a:cubicBezTo>
                      <a:pt x="142" y="210"/>
                      <a:pt x="143" y="193"/>
                      <a:pt x="119" y="200"/>
                    </a:cubicBezTo>
                    <a:cubicBezTo>
                      <a:pt x="112" y="199"/>
                      <a:pt x="109" y="208"/>
                      <a:pt x="103" y="201"/>
                    </a:cubicBezTo>
                    <a:cubicBezTo>
                      <a:pt x="103" y="201"/>
                      <a:pt x="84" y="192"/>
                      <a:pt x="74" y="204"/>
                    </a:cubicBezTo>
                    <a:cubicBezTo>
                      <a:pt x="74" y="204"/>
                      <a:pt x="63" y="207"/>
                      <a:pt x="54" y="204"/>
                    </a:cubicBezTo>
                    <a:cubicBezTo>
                      <a:pt x="44" y="208"/>
                      <a:pt x="38" y="190"/>
                      <a:pt x="26" y="190"/>
                    </a:cubicBezTo>
                    <a:cubicBezTo>
                      <a:pt x="26" y="190"/>
                      <a:pt x="23" y="197"/>
                      <a:pt x="11" y="194"/>
                    </a:cubicBezTo>
                    <a:cubicBezTo>
                      <a:pt x="0" y="181"/>
                      <a:pt x="10" y="166"/>
                      <a:pt x="10" y="166"/>
                    </a:cubicBezTo>
                    <a:cubicBezTo>
                      <a:pt x="16" y="150"/>
                      <a:pt x="23" y="156"/>
                      <a:pt x="23" y="156"/>
                    </a:cubicBezTo>
                    <a:cubicBezTo>
                      <a:pt x="31" y="169"/>
                      <a:pt x="41" y="154"/>
                      <a:pt x="41" y="154"/>
                    </a:cubicBezTo>
                    <a:cubicBezTo>
                      <a:pt x="57" y="135"/>
                      <a:pt x="63" y="148"/>
                      <a:pt x="69" y="143"/>
                    </a:cubicBezTo>
                    <a:cubicBezTo>
                      <a:pt x="84" y="125"/>
                      <a:pt x="97" y="129"/>
                      <a:pt x="97" y="129"/>
                    </a:cubicBezTo>
                    <a:cubicBezTo>
                      <a:pt x="109" y="132"/>
                      <a:pt x="104" y="123"/>
                      <a:pt x="104" y="123"/>
                    </a:cubicBezTo>
                    <a:cubicBezTo>
                      <a:pt x="100" y="119"/>
                      <a:pt x="109" y="109"/>
                      <a:pt x="109" y="109"/>
                    </a:cubicBezTo>
                    <a:cubicBezTo>
                      <a:pt x="110" y="91"/>
                      <a:pt x="121" y="95"/>
                      <a:pt x="121" y="95"/>
                    </a:cubicBezTo>
                    <a:cubicBezTo>
                      <a:pt x="143" y="91"/>
                      <a:pt x="160" y="96"/>
                      <a:pt x="160" y="96"/>
                    </a:cubicBezTo>
                    <a:cubicBezTo>
                      <a:pt x="164" y="104"/>
                      <a:pt x="174" y="96"/>
                      <a:pt x="174" y="96"/>
                    </a:cubicBezTo>
                    <a:cubicBezTo>
                      <a:pt x="187" y="88"/>
                      <a:pt x="191" y="97"/>
                      <a:pt x="191" y="97"/>
                    </a:cubicBezTo>
                    <a:cubicBezTo>
                      <a:pt x="194" y="105"/>
                      <a:pt x="212" y="93"/>
                      <a:pt x="212" y="93"/>
                    </a:cubicBezTo>
                    <a:cubicBezTo>
                      <a:pt x="211" y="84"/>
                      <a:pt x="220" y="75"/>
                      <a:pt x="220" y="75"/>
                    </a:cubicBezTo>
                    <a:cubicBezTo>
                      <a:pt x="214" y="57"/>
                      <a:pt x="232" y="63"/>
                      <a:pt x="232" y="63"/>
                    </a:cubicBezTo>
                    <a:cubicBezTo>
                      <a:pt x="242" y="57"/>
                      <a:pt x="257" y="66"/>
                      <a:pt x="257" y="66"/>
                    </a:cubicBezTo>
                    <a:cubicBezTo>
                      <a:pt x="261" y="82"/>
                      <a:pt x="270" y="67"/>
                      <a:pt x="270" y="67"/>
                    </a:cubicBezTo>
                    <a:cubicBezTo>
                      <a:pt x="278" y="55"/>
                      <a:pt x="283" y="65"/>
                      <a:pt x="283" y="65"/>
                    </a:cubicBezTo>
                    <a:cubicBezTo>
                      <a:pt x="295" y="71"/>
                      <a:pt x="293" y="56"/>
                      <a:pt x="293" y="56"/>
                    </a:cubicBezTo>
                    <a:cubicBezTo>
                      <a:pt x="292" y="46"/>
                      <a:pt x="301" y="44"/>
                      <a:pt x="301" y="44"/>
                    </a:cubicBezTo>
                    <a:cubicBezTo>
                      <a:pt x="307" y="40"/>
                      <a:pt x="314" y="32"/>
                      <a:pt x="314" y="32"/>
                    </a:cubicBezTo>
                    <a:cubicBezTo>
                      <a:pt x="317" y="40"/>
                      <a:pt x="324" y="40"/>
                      <a:pt x="324" y="40"/>
                    </a:cubicBezTo>
                    <a:cubicBezTo>
                      <a:pt x="336" y="47"/>
                      <a:pt x="337" y="58"/>
                      <a:pt x="337" y="58"/>
                    </a:cubicBezTo>
                    <a:cubicBezTo>
                      <a:pt x="347" y="62"/>
                      <a:pt x="354" y="53"/>
                      <a:pt x="354" y="53"/>
                    </a:cubicBezTo>
                    <a:cubicBezTo>
                      <a:pt x="362" y="49"/>
                      <a:pt x="362" y="61"/>
                      <a:pt x="371" y="51"/>
                    </a:cubicBezTo>
                    <a:cubicBezTo>
                      <a:pt x="378" y="43"/>
                      <a:pt x="371" y="29"/>
                      <a:pt x="371" y="29"/>
                    </a:cubicBezTo>
                    <a:cubicBezTo>
                      <a:pt x="367" y="14"/>
                      <a:pt x="356" y="18"/>
                      <a:pt x="367" y="0"/>
                    </a:cubicBezTo>
                    <a:cubicBezTo>
                      <a:pt x="375" y="2"/>
                      <a:pt x="379" y="9"/>
                      <a:pt x="379" y="9"/>
                    </a:cubicBezTo>
                    <a:cubicBezTo>
                      <a:pt x="403" y="10"/>
                      <a:pt x="409" y="20"/>
                      <a:pt x="409" y="20"/>
                    </a:cubicBezTo>
                    <a:cubicBezTo>
                      <a:pt x="415" y="26"/>
                      <a:pt x="419" y="33"/>
                      <a:pt x="419" y="33"/>
                    </a:cubicBezTo>
                    <a:cubicBezTo>
                      <a:pt x="435" y="33"/>
                      <a:pt x="433" y="44"/>
                      <a:pt x="433" y="44"/>
                    </a:cubicBezTo>
                    <a:cubicBezTo>
                      <a:pt x="437" y="64"/>
                      <a:pt x="445" y="52"/>
                      <a:pt x="451" y="58"/>
                    </a:cubicBezTo>
                    <a:cubicBezTo>
                      <a:pt x="458" y="62"/>
                      <a:pt x="468" y="59"/>
                      <a:pt x="468" y="59"/>
                    </a:cubicBezTo>
                    <a:cubicBezTo>
                      <a:pt x="498" y="54"/>
                      <a:pt x="502" y="67"/>
                      <a:pt x="502" y="67"/>
                    </a:cubicBezTo>
                    <a:cubicBezTo>
                      <a:pt x="502" y="67"/>
                      <a:pt x="502" y="67"/>
                      <a:pt x="502" y="67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92" y="84"/>
                      <a:pt x="492" y="84"/>
                    </a:cubicBezTo>
                    <a:cubicBezTo>
                      <a:pt x="492" y="84"/>
                      <a:pt x="488" y="74"/>
                      <a:pt x="472" y="81"/>
                    </a:cubicBezTo>
                    <a:cubicBezTo>
                      <a:pt x="472" y="81"/>
                      <a:pt x="445" y="81"/>
                      <a:pt x="472" y="96"/>
                    </a:cubicBezTo>
                    <a:cubicBezTo>
                      <a:pt x="472" y="96"/>
                      <a:pt x="488" y="95"/>
                      <a:pt x="491" y="102"/>
                    </a:cubicBezTo>
                    <a:cubicBezTo>
                      <a:pt x="491" y="102"/>
                      <a:pt x="490" y="110"/>
                      <a:pt x="478" y="117"/>
                    </a:cubicBezTo>
                    <a:cubicBezTo>
                      <a:pt x="478" y="117"/>
                      <a:pt x="478" y="117"/>
                      <a:pt x="478" y="117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61" y="123"/>
                      <a:pt x="461" y="123"/>
                    </a:cubicBezTo>
                    <a:cubicBezTo>
                      <a:pt x="461" y="123"/>
                      <a:pt x="445" y="131"/>
                      <a:pt x="454" y="143"/>
                    </a:cubicBezTo>
                    <a:cubicBezTo>
                      <a:pt x="454" y="143"/>
                      <a:pt x="458" y="147"/>
                      <a:pt x="458" y="164"/>
                    </a:cubicBezTo>
                    <a:cubicBezTo>
                      <a:pt x="458" y="164"/>
                      <a:pt x="467" y="182"/>
                      <a:pt x="444" y="194"/>
                    </a:cubicBezTo>
                    <a:cubicBezTo>
                      <a:pt x="444" y="194"/>
                      <a:pt x="429" y="194"/>
                      <a:pt x="427" y="209"/>
                    </a:cubicBezTo>
                    <a:cubicBezTo>
                      <a:pt x="427" y="209"/>
                      <a:pt x="409" y="212"/>
                      <a:pt x="403" y="227"/>
                    </a:cubicBezTo>
                    <a:cubicBezTo>
                      <a:pt x="403" y="227"/>
                      <a:pt x="403" y="227"/>
                      <a:pt x="403" y="2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2" name="Freeform 39"/>
              <p:cNvSpPr>
                <a:spLocks/>
              </p:cNvSpPr>
              <p:nvPr/>
            </p:nvSpPr>
            <p:spPr bwMode="auto">
              <a:xfrm>
                <a:off x="2339171" y="4061388"/>
                <a:ext cx="1134986" cy="1364758"/>
              </a:xfrm>
              <a:custGeom>
                <a:avLst/>
                <a:gdLst>
                  <a:gd name="T0" fmla="*/ 2147483647 w 401"/>
                  <a:gd name="T1" fmla="*/ 2147483647 h 546"/>
                  <a:gd name="T2" fmla="*/ 2147483647 w 401"/>
                  <a:gd name="T3" fmla="*/ 2147483647 h 546"/>
                  <a:gd name="T4" fmla="*/ 2147483647 w 401"/>
                  <a:gd name="T5" fmla="*/ 2147483647 h 546"/>
                  <a:gd name="T6" fmla="*/ 2147483647 w 401"/>
                  <a:gd name="T7" fmla="*/ 2147483647 h 546"/>
                  <a:gd name="T8" fmla="*/ 2147483647 w 401"/>
                  <a:gd name="T9" fmla="*/ 2147483647 h 546"/>
                  <a:gd name="T10" fmla="*/ 2147483647 w 401"/>
                  <a:gd name="T11" fmla="*/ 2147483647 h 546"/>
                  <a:gd name="T12" fmla="*/ 2147483647 w 401"/>
                  <a:gd name="T13" fmla="*/ 2147483647 h 546"/>
                  <a:gd name="T14" fmla="*/ 2147483647 w 401"/>
                  <a:gd name="T15" fmla="*/ 2147483647 h 546"/>
                  <a:gd name="T16" fmla="*/ 2147483647 w 401"/>
                  <a:gd name="T17" fmla="*/ 2147483647 h 546"/>
                  <a:gd name="T18" fmla="*/ 2147483647 w 401"/>
                  <a:gd name="T19" fmla="*/ 2147483647 h 546"/>
                  <a:gd name="T20" fmla="*/ 2147483647 w 401"/>
                  <a:gd name="T21" fmla="*/ 2147483647 h 546"/>
                  <a:gd name="T22" fmla="*/ 2147483647 w 401"/>
                  <a:gd name="T23" fmla="*/ 2147483647 h 546"/>
                  <a:gd name="T24" fmla="*/ 2147483647 w 401"/>
                  <a:gd name="T25" fmla="*/ 2147483647 h 546"/>
                  <a:gd name="T26" fmla="*/ 2147483647 w 401"/>
                  <a:gd name="T27" fmla="*/ 2147483647 h 546"/>
                  <a:gd name="T28" fmla="*/ 2147483647 w 401"/>
                  <a:gd name="T29" fmla="*/ 2147483647 h 546"/>
                  <a:gd name="T30" fmla="*/ 2147483647 w 401"/>
                  <a:gd name="T31" fmla="*/ 2147483647 h 546"/>
                  <a:gd name="T32" fmla="*/ 2147483647 w 401"/>
                  <a:gd name="T33" fmla="*/ 2147483647 h 546"/>
                  <a:gd name="T34" fmla="*/ 2147483647 w 401"/>
                  <a:gd name="T35" fmla="*/ 2147483647 h 546"/>
                  <a:gd name="T36" fmla="*/ 2147483647 w 401"/>
                  <a:gd name="T37" fmla="*/ 2147483647 h 546"/>
                  <a:gd name="T38" fmla="*/ 2147483647 w 401"/>
                  <a:gd name="T39" fmla="*/ 2147483647 h 546"/>
                  <a:gd name="T40" fmla="*/ 2147483647 w 401"/>
                  <a:gd name="T41" fmla="*/ 2147483647 h 546"/>
                  <a:gd name="T42" fmla="*/ 2147483647 w 401"/>
                  <a:gd name="T43" fmla="*/ 2147483647 h 546"/>
                  <a:gd name="T44" fmla="*/ 2147483647 w 401"/>
                  <a:gd name="T45" fmla="*/ 2147483647 h 546"/>
                  <a:gd name="T46" fmla="*/ 2147483647 w 401"/>
                  <a:gd name="T47" fmla="*/ 2147483647 h 546"/>
                  <a:gd name="T48" fmla="*/ 2147483647 w 401"/>
                  <a:gd name="T49" fmla="*/ 2147483647 h 546"/>
                  <a:gd name="T50" fmla="*/ 2147483647 w 401"/>
                  <a:gd name="T51" fmla="*/ 2147483647 h 546"/>
                  <a:gd name="T52" fmla="*/ 2147483647 w 401"/>
                  <a:gd name="T53" fmla="*/ 2147483647 h 546"/>
                  <a:gd name="T54" fmla="*/ 2147483647 w 401"/>
                  <a:gd name="T55" fmla="*/ 2147483647 h 546"/>
                  <a:gd name="T56" fmla="*/ 2147483647 w 401"/>
                  <a:gd name="T57" fmla="*/ 2147483647 h 546"/>
                  <a:gd name="T58" fmla="*/ 2147483647 w 401"/>
                  <a:gd name="T59" fmla="*/ 2147483647 h 546"/>
                  <a:gd name="T60" fmla="*/ 2147483647 w 401"/>
                  <a:gd name="T61" fmla="*/ 2147483647 h 546"/>
                  <a:gd name="T62" fmla="*/ 2147483647 w 401"/>
                  <a:gd name="T63" fmla="*/ 2147483647 h 546"/>
                  <a:gd name="T64" fmla="*/ 2147483647 w 401"/>
                  <a:gd name="T65" fmla="*/ 2147483647 h 546"/>
                  <a:gd name="T66" fmla="*/ 2147483647 w 401"/>
                  <a:gd name="T67" fmla="*/ 2147483647 h 546"/>
                  <a:gd name="T68" fmla="*/ 2147483647 w 401"/>
                  <a:gd name="T69" fmla="*/ 2147483647 h 546"/>
                  <a:gd name="T70" fmla="*/ 2147483647 w 401"/>
                  <a:gd name="T71" fmla="*/ 2147483647 h 546"/>
                  <a:gd name="T72" fmla="*/ 2147483647 w 401"/>
                  <a:gd name="T73" fmla="*/ 2147483647 h 546"/>
                  <a:gd name="T74" fmla="*/ 2147483647 w 401"/>
                  <a:gd name="T75" fmla="*/ 2147483647 h 546"/>
                  <a:gd name="T76" fmla="*/ 2147483647 w 401"/>
                  <a:gd name="T77" fmla="*/ 2147483647 h 546"/>
                  <a:gd name="T78" fmla="*/ 2147483647 w 401"/>
                  <a:gd name="T79" fmla="*/ 2147483647 h 546"/>
                  <a:gd name="T80" fmla="*/ 2147483647 w 401"/>
                  <a:gd name="T81" fmla="*/ 2147483647 h 546"/>
                  <a:gd name="T82" fmla="*/ 2147483647 w 401"/>
                  <a:gd name="T83" fmla="*/ 2147483647 h 546"/>
                  <a:gd name="T84" fmla="*/ 2147483647 w 401"/>
                  <a:gd name="T85" fmla="*/ 2147483647 h 546"/>
                  <a:gd name="T86" fmla="*/ 2147483647 w 401"/>
                  <a:gd name="T87" fmla="*/ 2147483647 h 546"/>
                  <a:gd name="T88" fmla="*/ 2147483647 w 401"/>
                  <a:gd name="T89" fmla="*/ 2147483647 h 546"/>
                  <a:gd name="T90" fmla="*/ 2147483647 w 401"/>
                  <a:gd name="T91" fmla="*/ 2147483647 h 546"/>
                  <a:gd name="T92" fmla="*/ 2147483647 w 401"/>
                  <a:gd name="T93" fmla="*/ 2147483647 h 546"/>
                  <a:gd name="T94" fmla="*/ 2147483647 w 401"/>
                  <a:gd name="T95" fmla="*/ 2147483647 h 546"/>
                  <a:gd name="T96" fmla="*/ 2147483647 w 401"/>
                  <a:gd name="T97" fmla="*/ 2147483647 h 546"/>
                  <a:gd name="T98" fmla="*/ 2147483647 w 401"/>
                  <a:gd name="T99" fmla="*/ 2147483647 h 546"/>
                  <a:gd name="T100" fmla="*/ 2147483647 w 401"/>
                  <a:gd name="T101" fmla="*/ 2147483647 h 546"/>
                  <a:gd name="T102" fmla="*/ 2147483647 w 401"/>
                  <a:gd name="T103" fmla="*/ 2147483647 h 546"/>
                  <a:gd name="T104" fmla="*/ 2147483647 w 401"/>
                  <a:gd name="T105" fmla="*/ 2147483647 h 546"/>
                  <a:gd name="T106" fmla="*/ 2147483647 w 401"/>
                  <a:gd name="T107" fmla="*/ 2147483647 h 546"/>
                  <a:gd name="T108" fmla="*/ 2147483647 w 401"/>
                  <a:gd name="T109" fmla="*/ 2147483647 h 546"/>
                  <a:gd name="T110" fmla="*/ 2147483647 w 401"/>
                  <a:gd name="T111" fmla="*/ 2147483647 h 546"/>
                  <a:gd name="T112" fmla="*/ 2147483647 w 401"/>
                  <a:gd name="T113" fmla="*/ 2147483647 h 546"/>
                  <a:gd name="T114" fmla="*/ 2147483647 w 401"/>
                  <a:gd name="T115" fmla="*/ 2147483647 h 546"/>
                  <a:gd name="T116" fmla="*/ 2147483647 w 401"/>
                  <a:gd name="T117" fmla="*/ 2147483647 h 54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1"/>
                  <a:gd name="T178" fmla="*/ 0 h 546"/>
                  <a:gd name="T179" fmla="*/ 401 w 401"/>
                  <a:gd name="T180" fmla="*/ 546 h 54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1" h="546">
                    <a:moveTo>
                      <a:pt x="101" y="35"/>
                    </a:moveTo>
                    <a:cubicBezTo>
                      <a:pt x="113" y="32"/>
                      <a:pt x="117" y="19"/>
                      <a:pt x="117" y="19"/>
                    </a:cubicBezTo>
                    <a:cubicBezTo>
                      <a:pt x="120" y="0"/>
                      <a:pt x="128" y="17"/>
                      <a:pt x="128" y="17"/>
                    </a:cubicBezTo>
                    <a:cubicBezTo>
                      <a:pt x="138" y="27"/>
                      <a:pt x="156" y="23"/>
                      <a:pt x="156" y="23"/>
                    </a:cubicBezTo>
                    <a:cubicBezTo>
                      <a:pt x="167" y="13"/>
                      <a:pt x="174" y="24"/>
                      <a:pt x="174" y="24"/>
                    </a:cubicBezTo>
                    <a:cubicBezTo>
                      <a:pt x="195" y="27"/>
                      <a:pt x="195" y="16"/>
                      <a:pt x="195" y="16"/>
                    </a:cubicBezTo>
                    <a:cubicBezTo>
                      <a:pt x="193" y="5"/>
                      <a:pt x="208" y="5"/>
                      <a:pt x="208" y="5"/>
                    </a:cubicBezTo>
                    <a:cubicBezTo>
                      <a:pt x="220" y="8"/>
                      <a:pt x="223" y="1"/>
                      <a:pt x="223" y="1"/>
                    </a:cubicBezTo>
                    <a:cubicBezTo>
                      <a:pt x="235" y="1"/>
                      <a:pt x="241" y="19"/>
                      <a:pt x="251" y="15"/>
                    </a:cubicBezTo>
                    <a:cubicBezTo>
                      <a:pt x="260" y="18"/>
                      <a:pt x="269" y="15"/>
                      <a:pt x="269" y="15"/>
                    </a:cubicBezTo>
                    <a:cubicBezTo>
                      <a:pt x="274" y="24"/>
                      <a:pt x="265" y="23"/>
                      <a:pt x="265" y="23"/>
                    </a:cubicBezTo>
                    <a:cubicBezTo>
                      <a:pt x="252" y="32"/>
                      <a:pt x="264" y="47"/>
                      <a:pt x="264" y="47"/>
                    </a:cubicBezTo>
                    <a:cubicBezTo>
                      <a:pt x="274" y="53"/>
                      <a:pt x="272" y="77"/>
                      <a:pt x="272" y="77"/>
                    </a:cubicBezTo>
                    <a:cubicBezTo>
                      <a:pt x="282" y="76"/>
                      <a:pt x="281" y="93"/>
                      <a:pt x="281" y="93"/>
                    </a:cubicBezTo>
                    <a:cubicBezTo>
                      <a:pt x="278" y="118"/>
                      <a:pt x="304" y="110"/>
                      <a:pt x="304" y="110"/>
                    </a:cubicBezTo>
                    <a:cubicBezTo>
                      <a:pt x="321" y="112"/>
                      <a:pt x="331" y="104"/>
                      <a:pt x="331" y="118"/>
                    </a:cubicBezTo>
                    <a:cubicBezTo>
                      <a:pt x="344" y="133"/>
                      <a:pt x="333" y="142"/>
                      <a:pt x="333" y="142"/>
                    </a:cubicBezTo>
                    <a:cubicBezTo>
                      <a:pt x="332" y="152"/>
                      <a:pt x="337" y="166"/>
                      <a:pt x="337" y="166"/>
                    </a:cubicBezTo>
                    <a:cubicBezTo>
                      <a:pt x="339" y="178"/>
                      <a:pt x="359" y="176"/>
                      <a:pt x="359" y="176"/>
                    </a:cubicBezTo>
                    <a:cubicBezTo>
                      <a:pt x="384" y="172"/>
                      <a:pt x="366" y="187"/>
                      <a:pt x="368" y="190"/>
                    </a:cubicBezTo>
                    <a:cubicBezTo>
                      <a:pt x="369" y="196"/>
                      <a:pt x="387" y="196"/>
                      <a:pt x="388" y="203"/>
                    </a:cubicBezTo>
                    <a:cubicBezTo>
                      <a:pt x="401" y="225"/>
                      <a:pt x="373" y="228"/>
                      <a:pt x="373" y="228"/>
                    </a:cubicBezTo>
                    <a:cubicBezTo>
                      <a:pt x="353" y="228"/>
                      <a:pt x="359" y="236"/>
                      <a:pt x="359" y="236"/>
                    </a:cubicBezTo>
                    <a:cubicBezTo>
                      <a:pt x="356" y="243"/>
                      <a:pt x="366" y="247"/>
                      <a:pt x="366" y="247"/>
                    </a:cubicBezTo>
                    <a:cubicBezTo>
                      <a:pt x="376" y="255"/>
                      <a:pt x="373" y="269"/>
                      <a:pt x="373" y="269"/>
                    </a:cubicBezTo>
                    <a:cubicBezTo>
                      <a:pt x="370" y="286"/>
                      <a:pt x="380" y="286"/>
                      <a:pt x="380" y="286"/>
                    </a:cubicBezTo>
                    <a:cubicBezTo>
                      <a:pt x="373" y="293"/>
                      <a:pt x="360" y="294"/>
                      <a:pt x="360" y="294"/>
                    </a:cubicBezTo>
                    <a:cubicBezTo>
                      <a:pt x="355" y="298"/>
                      <a:pt x="336" y="299"/>
                      <a:pt x="336" y="299"/>
                    </a:cubicBezTo>
                    <a:cubicBezTo>
                      <a:pt x="326" y="297"/>
                      <a:pt x="333" y="319"/>
                      <a:pt x="333" y="319"/>
                    </a:cubicBezTo>
                    <a:cubicBezTo>
                      <a:pt x="331" y="336"/>
                      <a:pt x="317" y="342"/>
                      <a:pt x="317" y="342"/>
                    </a:cubicBezTo>
                    <a:cubicBezTo>
                      <a:pt x="319" y="353"/>
                      <a:pt x="309" y="361"/>
                      <a:pt x="309" y="361"/>
                    </a:cubicBezTo>
                    <a:cubicBezTo>
                      <a:pt x="303" y="378"/>
                      <a:pt x="296" y="379"/>
                      <a:pt x="296" y="379"/>
                    </a:cubicBezTo>
                    <a:cubicBezTo>
                      <a:pt x="284" y="371"/>
                      <a:pt x="283" y="357"/>
                      <a:pt x="283" y="357"/>
                    </a:cubicBezTo>
                    <a:cubicBezTo>
                      <a:pt x="283" y="357"/>
                      <a:pt x="283" y="357"/>
                      <a:pt x="283" y="357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1" y="337"/>
                      <a:pt x="260" y="329"/>
                      <a:pt x="250" y="337"/>
                    </a:cubicBezTo>
                    <a:cubicBezTo>
                      <a:pt x="238" y="346"/>
                      <a:pt x="251" y="351"/>
                      <a:pt x="251" y="351"/>
                    </a:cubicBezTo>
                    <a:cubicBezTo>
                      <a:pt x="251" y="351"/>
                      <a:pt x="251" y="351"/>
                      <a:pt x="251" y="351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65" y="360"/>
                      <a:pt x="265" y="360"/>
                      <a:pt x="265" y="360"/>
                    </a:cubicBezTo>
                    <a:cubicBezTo>
                      <a:pt x="278" y="366"/>
                      <a:pt x="280" y="379"/>
                      <a:pt x="280" y="379"/>
                    </a:cubicBezTo>
                    <a:cubicBezTo>
                      <a:pt x="293" y="397"/>
                      <a:pt x="278" y="405"/>
                      <a:pt x="278" y="405"/>
                    </a:cubicBezTo>
                    <a:cubicBezTo>
                      <a:pt x="278" y="405"/>
                      <a:pt x="278" y="405"/>
                      <a:pt x="278" y="405"/>
                    </a:cubicBezTo>
                    <a:cubicBezTo>
                      <a:pt x="248" y="437"/>
                      <a:pt x="248" y="437"/>
                      <a:pt x="248" y="437"/>
                    </a:cubicBezTo>
                    <a:cubicBezTo>
                      <a:pt x="248" y="426"/>
                      <a:pt x="248" y="426"/>
                      <a:pt x="248" y="426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34" y="434"/>
                      <a:pt x="234" y="434"/>
                      <a:pt x="234" y="434"/>
                    </a:cubicBezTo>
                    <a:cubicBezTo>
                      <a:pt x="219" y="434"/>
                      <a:pt x="220" y="448"/>
                      <a:pt x="220" y="448"/>
                    </a:cubicBezTo>
                    <a:cubicBezTo>
                      <a:pt x="216" y="453"/>
                      <a:pt x="206" y="450"/>
                      <a:pt x="206" y="450"/>
                    </a:cubicBezTo>
                    <a:cubicBezTo>
                      <a:pt x="203" y="456"/>
                      <a:pt x="214" y="457"/>
                      <a:pt x="210" y="466"/>
                    </a:cubicBezTo>
                    <a:cubicBezTo>
                      <a:pt x="199" y="475"/>
                      <a:pt x="191" y="463"/>
                      <a:pt x="191" y="463"/>
                    </a:cubicBezTo>
                    <a:cubicBezTo>
                      <a:pt x="191" y="463"/>
                      <a:pt x="191" y="463"/>
                      <a:pt x="191" y="463"/>
                    </a:cubicBezTo>
                    <a:cubicBezTo>
                      <a:pt x="190" y="448"/>
                      <a:pt x="190" y="448"/>
                      <a:pt x="190" y="44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87" y="438"/>
                      <a:pt x="187" y="438"/>
                      <a:pt x="187" y="438"/>
                    </a:cubicBezTo>
                    <a:cubicBezTo>
                      <a:pt x="179" y="443"/>
                      <a:pt x="183" y="458"/>
                      <a:pt x="183" y="458"/>
                    </a:cubicBezTo>
                    <a:cubicBezTo>
                      <a:pt x="175" y="474"/>
                      <a:pt x="183" y="485"/>
                      <a:pt x="183" y="485"/>
                    </a:cubicBezTo>
                    <a:cubicBezTo>
                      <a:pt x="179" y="505"/>
                      <a:pt x="189" y="500"/>
                      <a:pt x="189" y="500"/>
                    </a:cubicBezTo>
                    <a:cubicBezTo>
                      <a:pt x="201" y="498"/>
                      <a:pt x="199" y="519"/>
                      <a:pt x="199" y="519"/>
                    </a:cubicBezTo>
                    <a:cubicBezTo>
                      <a:pt x="197" y="544"/>
                      <a:pt x="185" y="544"/>
                      <a:pt x="185" y="544"/>
                    </a:cubicBezTo>
                    <a:cubicBezTo>
                      <a:pt x="185" y="544"/>
                      <a:pt x="190" y="525"/>
                      <a:pt x="180" y="517"/>
                    </a:cubicBezTo>
                    <a:cubicBezTo>
                      <a:pt x="180" y="517"/>
                      <a:pt x="179" y="506"/>
                      <a:pt x="158" y="503"/>
                    </a:cubicBezTo>
                    <a:cubicBezTo>
                      <a:pt x="158" y="503"/>
                      <a:pt x="131" y="498"/>
                      <a:pt x="119" y="513"/>
                    </a:cubicBezTo>
                    <a:cubicBezTo>
                      <a:pt x="119" y="513"/>
                      <a:pt x="98" y="514"/>
                      <a:pt x="91" y="531"/>
                    </a:cubicBezTo>
                    <a:cubicBezTo>
                      <a:pt x="91" y="531"/>
                      <a:pt x="91" y="531"/>
                      <a:pt x="91" y="531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80" y="522"/>
                      <a:pt x="80" y="522"/>
                    </a:cubicBezTo>
                    <a:cubicBezTo>
                      <a:pt x="80" y="522"/>
                      <a:pt x="69" y="525"/>
                      <a:pt x="73" y="532"/>
                    </a:cubicBezTo>
                    <a:cubicBezTo>
                      <a:pt x="73" y="532"/>
                      <a:pt x="73" y="546"/>
                      <a:pt x="47" y="534"/>
                    </a:cubicBezTo>
                    <a:cubicBezTo>
                      <a:pt x="36" y="522"/>
                      <a:pt x="25" y="529"/>
                      <a:pt x="18" y="519"/>
                    </a:cubicBezTo>
                    <a:cubicBezTo>
                      <a:pt x="18" y="519"/>
                      <a:pt x="7" y="514"/>
                      <a:pt x="7" y="497"/>
                    </a:cubicBezTo>
                    <a:cubicBezTo>
                      <a:pt x="7" y="497"/>
                      <a:pt x="1" y="498"/>
                      <a:pt x="0" y="492"/>
                    </a:cubicBezTo>
                    <a:cubicBezTo>
                      <a:pt x="0" y="492"/>
                      <a:pt x="8" y="477"/>
                      <a:pt x="19" y="485"/>
                    </a:cubicBezTo>
                    <a:cubicBezTo>
                      <a:pt x="19" y="485"/>
                      <a:pt x="25" y="481"/>
                      <a:pt x="33" y="485"/>
                    </a:cubicBezTo>
                    <a:cubicBezTo>
                      <a:pt x="33" y="485"/>
                      <a:pt x="47" y="489"/>
                      <a:pt x="42" y="462"/>
                    </a:cubicBezTo>
                    <a:cubicBezTo>
                      <a:pt x="42" y="462"/>
                      <a:pt x="27" y="459"/>
                      <a:pt x="51" y="444"/>
                    </a:cubicBezTo>
                    <a:cubicBezTo>
                      <a:pt x="51" y="444"/>
                      <a:pt x="63" y="440"/>
                      <a:pt x="64" y="431"/>
                    </a:cubicBezTo>
                    <a:cubicBezTo>
                      <a:pt x="64" y="431"/>
                      <a:pt x="76" y="434"/>
                      <a:pt x="73" y="417"/>
                    </a:cubicBezTo>
                    <a:cubicBezTo>
                      <a:pt x="73" y="417"/>
                      <a:pt x="65" y="404"/>
                      <a:pt x="89" y="402"/>
                    </a:cubicBezTo>
                    <a:cubicBezTo>
                      <a:pt x="89" y="402"/>
                      <a:pt x="102" y="401"/>
                      <a:pt x="100" y="390"/>
                    </a:cubicBezTo>
                    <a:cubicBezTo>
                      <a:pt x="100" y="390"/>
                      <a:pt x="93" y="382"/>
                      <a:pt x="103" y="375"/>
                    </a:cubicBezTo>
                    <a:cubicBezTo>
                      <a:pt x="103" y="375"/>
                      <a:pt x="117" y="366"/>
                      <a:pt x="103" y="358"/>
                    </a:cubicBezTo>
                    <a:cubicBezTo>
                      <a:pt x="103" y="358"/>
                      <a:pt x="97" y="357"/>
                      <a:pt x="97" y="347"/>
                    </a:cubicBezTo>
                    <a:cubicBezTo>
                      <a:pt x="97" y="347"/>
                      <a:pt x="105" y="342"/>
                      <a:pt x="97" y="330"/>
                    </a:cubicBezTo>
                    <a:cubicBezTo>
                      <a:pt x="97" y="330"/>
                      <a:pt x="93" y="319"/>
                      <a:pt x="108" y="310"/>
                    </a:cubicBezTo>
                    <a:cubicBezTo>
                      <a:pt x="108" y="310"/>
                      <a:pt x="118" y="310"/>
                      <a:pt x="124" y="303"/>
                    </a:cubicBezTo>
                    <a:cubicBezTo>
                      <a:pt x="124" y="303"/>
                      <a:pt x="135" y="294"/>
                      <a:pt x="135" y="320"/>
                    </a:cubicBezTo>
                    <a:cubicBezTo>
                      <a:pt x="128" y="337"/>
                      <a:pt x="145" y="331"/>
                      <a:pt x="143" y="324"/>
                    </a:cubicBezTo>
                    <a:cubicBezTo>
                      <a:pt x="143" y="324"/>
                      <a:pt x="145" y="310"/>
                      <a:pt x="150" y="319"/>
                    </a:cubicBezTo>
                    <a:cubicBezTo>
                      <a:pt x="150" y="319"/>
                      <a:pt x="152" y="324"/>
                      <a:pt x="161" y="316"/>
                    </a:cubicBezTo>
                    <a:cubicBezTo>
                      <a:pt x="168" y="306"/>
                      <a:pt x="166" y="324"/>
                      <a:pt x="178" y="324"/>
                    </a:cubicBezTo>
                    <a:cubicBezTo>
                      <a:pt x="178" y="337"/>
                      <a:pt x="191" y="337"/>
                      <a:pt x="191" y="326"/>
                    </a:cubicBezTo>
                    <a:cubicBezTo>
                      <a:pt x="191" y="326"/>
                      <a:pt x="202" y="310"/>
                      <a:pt x="210" y="331"/>
                    </a:cubicBezTo>
                    <a:cubicBezTo>
                      <a:pt x="210" y="331"/>
                      <a:pt x="210" y="348"/>
                      <a:pt x="220" y="332"/>
                    </a:cubicBezTo>
                    <a:cubicBezTo>
                      <a:pt x="220" y="332"/>
                      <a:pt x="244" y="335"/>
                      <a:pt x="248" y="330"/>
                    </a:cubicBezTo>
                    <a:cubicBezTo>
                      <a:pt x="248" y="330"/>
                      <a:pt x="241" y="318"/>
                      <a:pt x="234" y="320"/>
                    </a:cubicBezTo>
                    <a:cubicBezTo>
                      <a:pt x="232" y="312"/>
                      <a:pt x="216" y="309"/>
                      <a:pt x="219" y="303"/>
                    </a:cubicBezTo>
                    <a:cubicBezTo>
                      <a:pt x="219" y="303"/>
                      <a:pt x="229" y="304"/>
                      <a:pt x="226" y="286"/>
                    </a:cubicBezTo>
                    <a:cubicBezTo>
                      <a:pt x="226" y="286"/>
                      <a:pt x="230" y="271"/>
                      <a:pt x="226" y="265"/>
                    </a:cubicBezTo>
                    <a:cubicBezTo>
                      <a:pt x="226" y="265"/>
                      <a:pt x="230" y="248"/>
                      <a:pt x="201" y="243"/>
                    </a:cubicBezTo>
                    <a:cubicBezTo>
                      <a:pt x="193" y="231"/>
                      <a:pt x="186" y="236"/>
                      <a:pt x="183" y="226"/>
                    </a:cubicBezTo>
                    <a:cubicBezTo>
                      <a:pt x="183" y="226"/>
                      <a:pt x="183" y="226"/>
                      <a:pt x="183" y="22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85" y="206"/>
                      <a:pt x="185" y="206"/>
                    </a:cubicBezTo>
                    <a:cubicBezTo>
                      <a:pt x="185" y="206"/>
                      <a:pt x="165" y="201"/>
                      <a:pt x="174" y="197"/>
                    </a:cubicBezTo>
                    <a:cubicBezTo>
                      <a:pt x="183" y="198"/>
                      <a:pt x="175" y="179"/>
                      <a:pt x="181" y="175"/>
                    </a:cubicBezTo>
                    <a:cubicBezTo>
                      <a:pt x="181" y="175"/>
                      <a:pt x="189" y="153"/>
                      <a:pt x="172" y="158"/>
                    </a:cubicBezTo>
                    <a:cubicBezTo>
                      <a:pt x="172" y="166"/>
                      <a:pt x="156" y="174"/>
                      <a:pt x="155" y="156"/>
                    </a:cubicBezTo>
                    <a:cubicBezTo>
                      <a:pt x="155" y="156"/>
                      <a:pt x="151" y="137"/>
                      <a:pt x="132" y="138"/>
                    </a:cubicBezTo>
                    <a:cubicBezTo>
                      <a:pt x="132" y="138"/>
                      <a:pt x="125" y="132"/>
                      <a:pt x="128" y="115"/>
                    </a:cubicBezTo>
                    <a:cubicBezTo>
                      <a:pt x="128" y="115"/>
                      <a:pt x="139" y="108"/>
                      <a:pt x="135" y="96"/>
                    </a:cubicBezTo>
                    <a:cubicBezTo>
                      <a:pt x="135" y="96"/>
                      <a:pt x="134" y="86"/>
                      <a:pt x="139" y="84"/>
                    </a:cubicBezTo>
                    <a:cubicBezTo>
                      <a:pt x="139" y="84"/>
                      <a:pt x="148" y="80"/>
                      <a:pt x="138" y="71"/>
                    </a:cubicBezTo>
                    <a:cubicBezTo>
                      <a:pt x="135" y="64"/>
                      <a:pt x="150" y="70"/>
                      <a:pt x="135" y="49"/>
                    </a:cubicBezTo>
                    <a:cubicBezTo>
                      <a:pt x="135" y="49"/>
                      <a:pt x="133" y="33"/>
                      <a:pt x="120" y="41"/>
                    </a:cubicBezTo>
                    <a:cubicBezTo>
                      <a:pt x="120" y="41"/>
                      <a:pt x="118" y="60"/>
                      <a:pt x="101" y="35"/>
                    </a:cubicBezTo>
                    <a:cubicBezTo>
                      <a:pt x="101" y="35"/>
                      <a:pt x="101" y="35"/>
                      <a:pt x="101" y="3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3" name="Freeform 38"/>
              <p:cNvSpPr>
                <a:spLocks/>
              </p:cNvSpPr>
              <p:nvPr/>
            </p:nvSpPr>
            <p:spPr bwMode="auto">
              <a:xfrm>
                <a:off x="3052861" y="4048050"/>
                <a:ext cx="1037967" cy="760163"/>
              </a:xfrm>
              <a:custGeom>
                <a:avLst/>
                <a:gdLst>
                  <a:gd name="T0" fmla="*/ 2147483647 w 367"/>
                  <a:gd name="T1" fmla="*/ 2147483647 h 304"/>
                  <a:gd name="T2" fmla="*/ 2147483647 w 367"/>
                  <a:gd name="T3" fmla="*/ 2147483647 h 304"/>
                  <a:gd name="T4" fmla="*/ 2147483647 w 367"/>
                  <a:gd name="T5" fmla="*/ 2147483647 h 304"/>
                  <a:gd name="T6" fmla="*/ 2147483647 w 367"/>
                  <a:gd name="T7" fmla="*/ 2147483647 h 304"/>
                  <a:gd name="T8" fmla="*/ 2147483647 w 367"/>
                  <a:gd name="T9" fmla="*/ 2147483647 h 304"/>
                  <a:gd name="T10" fmla="*/ 2147483647 w 367"/>
                  <a:gd name="T11" fmla="*/ 2147483647 h 304"/>
                  <a:gd name="T12" fmla="*/ 2147483647 w 367"/>
                  <a:gd name="T13" fmla="*/ 2147483647 h 304"/>
                  <a:gd name="T14" fmla="*/ 2147483647 w 367"/>
                  <a:gd name="T15" fmla="*/ 2147483647 h 304"/>
                  <a:gd name="T16" fmla="*/ 2147483647 w 367"/>
                  <a:gd name="T17" fmla="*/ 2147483647 h 304"/>
                  <a:gd name="T18" fmla="*/ 2147483647 w 367"/>
                  <a:gd name="T19" fmla="*/ 2147483647 h 304"/>
                  <a:gd name="T20" fmla="*/ 2147483647 w 367"/>
                  <a:gd name="T21" fmla="*/ 2147483647 h 304"/>
                  <a:gd name="T22" fmla="*/ 2147483647 w 367"/>
                  <a:gd name="T23" fmla="*/ 2147483647 h 304"/>
                  <a:gd name="T24" fmla="*/ 2147483647 w 367"/>
                  <a:gd name="T25" fmla="*/ 2147483647 h 304"/>
                  <a:gd name="T26" fmla="*/ 2147483647 w 367"/>
                  <a:gd name="T27" fmla="*/ 2147483647 h 304"/>
                  <a:gd name="T28" fmla="*/ 2147483647 w 367"/>
                  <a:gd name="T29" fmla="*/ 2147483647 h 304"/>
                  <a:gd name="T30" fmla="*/ 2147483647 w 367"/>
                  <a:gd name="T31" fmla="*/ 2147483647 h 304"/>
                  <a:gd name="T32" fmla="*/ 2147483647 w 367"/>
                  <a:gd name="T33" fmla="*/ 2147483647 h 304"/>
                  <a:gd name="T34" fmla="*/ 2147483647 w 367"/>
                  <a:gd name="T35" fmla="*/ 2147483647 h 304"/>
                  <a:gd name="T36" fmla="*/ 2147483647 w 367"/>
                  <a:gd name="T37" fmla="*/ 2147483647 h 304"/>
                  <a:gd name="T38" fmla="*/ 2147483647 w 367"/>
                  <a:gd name="T39" fmla="*/ 2147483647 h 304"/>
                  <a:gd name="T40" fmla="*/ 2147483647 w 367"/>
                  <a:gd name="T41" fmla="*/ 2147483647 h 304"/>
                  <a:gd name="T42" fmla="*/ 2147483647 w 367"/>
                  <a:gd name="T43" fmla="*/ 2147483647 h 304"/>
                  <a:gd name="T44" fmla="*/ 2147483647 w 367"/>
                  <a:gd name="T45" fmla="*/ 2147483647 h 304"/>
                  <a:gd name="T46" fmla="*/ 2147483647 w 367"/>
                  <a:gd name="T47" fmla="*/ 2147483647 h 304"/>
                  <a:gd name="T48" fmla="*/ 2147483647 w 367"/>
                  <a:gd name="T49" fmla="*/ 2147483647 h 304"/>
                  <a:gd name="T50" fmla="*/ 2147483647 w 367"/>
                  <a:gd name="T51" fmla="*/ 2147483647 h 304"/>
                  <a:gd name="T52" fmla="*/ 2147483647 w 367"/>
                  <a:gd name="T53" fmla="*/ 2147483647 h 304"/>
                  <a:gd name="T54" fmla="*/ 2147483647 w 367"/>
                  <a:gd name="T55" fmla="*/ 2147483647 h 304"/>
                  <a:gd name="T56" fmla="*/ 2147483647 w 367"/>
                  <a:gd name="T57" fmla="*/ 2147483647 h 304"/>
                  <a:gd name="T58" fmla="*/ 2147483647 w 367"/>
                  <a:gd name="T59" fmla="*/ 2147483647 h 304"/>
                  <a:gd name="T60" fmla="*/ 2147483647 w 367"/>
                  <a:gd name="T61" fmla="*/ 2147483647 h 304"/>
                  <a:gd name="T62" fmla="*/ 2147483647 w 367"/>
                  <a:gd name="T63" fmla="*/ 2147483647 h 304"/>
                  <a:gd name="T64" fmla="*/ 2147483647 w 367"/>
                  <a:gd name="T65" fmla="*/ 2147483647 h 3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67"/>
                  <a:gd name="T100" fmla="*/ 0 h 304"/>
                  <a:gd name="T101" fmla="*/ 367 w 367"/>
                  <a:gd name="T102" fmla="*/ 304 h 3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67" h="304">
                    <a:moveTo>
                      <a:pt x="127" y="294"/>
                    </a:moveTo>
                    <a:cubicBezTo>
                      <a:pt x="127" y="294"/>
                      <a:pt x="118" y="294"/>
                      <a:pt x="121" y="277"/>
                    </a:cubicBezTo>
                    <a:cubicBezTo>
                      <a:pt x="121" y="277"/>
                      <a:pt x="124" y="263"/>
                      <a:pt x="114" y="255"/>
                    </a:cubicBezTo>
                    <a:cubicBezTo>
                      <a:pt x="114" y="255"/>
                      <a:pt x="104" y="251"/>
                      <a:pt x="107" y="244"/>
                    </a:cubicBezTo>
                    <a:cubicBezTo>
                      <a:pt x="107" y="244"/>
                      <a:pt x="101" y="236"/>
                      <a:pt x="121" y="236"/>
                    </a:cubicBezTo>
                    <a:cubicBezTo>
                      <a:pt x="121" y="236"/>
                      <a:pt x="149" y="233"/>
                      <a:pt x="136" y="211"/>
                    </a:cubicBezTo>
                    <a:cubicBezTo>
                      <a:pt x="135" y="204"/>
                      <a:pt x="117" y="204"/>
                      <a:pt x="116" y="198"/>
                    </a:cubicBezTo>
                    <a:cubicBezTo>
                      <a:pt x="114" y="195"/>
                      <a:pt x="132" y="180"/>
                      <a:pt x="107" y="184"/>
                    </a:cubicBezTo>
                    <a:cubicBezTo>
                      <a:pt x="107" y="184"/>
                      <a:pt x="87" y="186"/>
                      <a:pt x="85" y="174"/>
                    </a:cubicBezTo>
                    <a:cubicBezTo>
                      <a:pt x="85" y="174"/>
                      <a:pt x="80" y="160"/>
                      <a:pt x="81" y="150"/>
                    </a:cubicBezTo>
                    <a:cubicBezTo>
                      <a:pt x="81" y="150"/>
                      <a:pt x="92" y="141"/>
                      <a:pt x="79" y="126"/>
                    </a:cubicBezTo>
                    <a:cubicBezTo>
                      <a:pt x="79" y="112"/>
                      <a:pt x="69" y="120"/>
                      <a:pt x="52" y="118"/>
                    </a:cubicBezTo>
                    <a:cubicBezTo>
                      <a:pt x="52" y="118"/>
                      <a:pt x="26" y="126"/>
                      <a:pt x="29" y="101"/>
                    </a:cubicBezTo>
                    <a:cubicBezTo>
                      <a:pt x="29" y="101"/>
                      <a:pt x="30" y="84"/>
                      <a:pt x="20" y="85"/>
                    </a:cubicBezTo>
                    <a:cubicBezTo>
                      <a:pt x="20" y="85"/>
                      <a:pt x="22" y="61"/>
                      <a:pt x="12" y="55"/>
                    </a:cubicBezTo>
                    <a:cubicBezTo>
                      <a:pt x="12" y="55"/>
                      <a:pt x="0" y="40"/>
                      <a:pt x="13" y="31"/>
                    </a:cubicBezTo>
                    <a:cubicBezTo>
                      <a:pt x="13" y="31"/>
                      <a:pt x="22" y="33"/>
                      <a:pt x="18" y="24"/>
                    </a:cubicBezTo>
                    <a:cubicBezTo>
                      <a:pt x="28" y="12"/>
                      <a:pt x="48" y="20"/>
                      <a:pt x="48" y="20"/>
                    </a:cubicBezTo>
                    <a:cubicBezTo>
                      <a:pt x="54" y="27"/>
                      <a:pt x="57" y="18"/>
                      <a:pt x="64" y="19"/>
                    </a:cubicBezTo>
                    <a:cubicBezTo>
                      <a:pt x="88" y="12"/>
                      <a:pt x="87" y="29"/>
                      <a:pt x="96" y="16"/>
                    </a:cubicBezTo>
                    <a:cubicBezTo>
                      <a:pt x="118" y="0"/>
                      <a:pt x="126" y="20"/>
                      <a:pt x="126" y="20"/>
                    </a:cubicBezTo>
                    <a:cubicBezTo>
                      <a:pt x="129" y="33"/>
                      <a:pt x="147" y="28"/>
                      <a:pt x="147" y="28"/>
                    </a:cubicBezTo>
                    <a:cubicBezTo>
                      <a:pt x="168" y="25"/>
                      <a:pt x="163" y="38"/>
                      <a:pt x="163" y="38"/>
                    </a:cubicBezTo>
                    <a:cubicBezTo>
                      <a:pt x="177" y="23"/>
                      <a:pt x="182" y="31"/>
                      <a:pt x="182" y="31"/>
                    </a:cubicBezTo>
                    <a:cubicBezTo>
                      <a:pt x="204" y="33"/>
                      <a:pt x="191" y="44"/>
                      <a:pt x="191" y="44"/>
                    </a:cubicBezTo>
                    <a:cubicBezTo>
                      <a:pt x="180" y="47"/>
                      <a:pt x="198" y="59"/>
                      <a:pt x="198" y="59"/>
                    </a:cubicBezTo>
                    <a:cubicBezTo>
                      <a:pt x="208" y="63"/>
                      <a:pt x="208" y="75"/>
                      <a:pt x="208" y="75"/>
                    </a:cubicBezTo>
                    <a:cubicBezTo>
                      <a:pt x="200" y="92"/>
                      <a:pt x="217" y="86"/>
                      <a:pt x="217" y="86"/>
                    </a:cubicBezTo>
                    <a:cubicBezTo>
                      <a:pt x="227" y="76"/>
                      <a:pt x="234" y="90"/>
                      <a:pt x="234" y="90"/>
                    </a:cubicBezTo>
                    <a:cubicBezTo>
                      <a:pt x="237" y="104"/>
                      <a:pt x="249" y="86"/>
                      <a:pt x="249" y="86"/>
                    </a:cubicBezTo>
                    <a:cubicBezTo>
                      <a:pt x="255" y="72"/>
                      <a:pt x="273" y="86"/>
                      <a:pt x="273" y="86"/>
                    </a:cubicBezTo>
                    <a:cubicBezTo>
                      <a:pt x="310" y="92"/>
                      <a:pt x="303" y="68"/>
                      <a:pt x="303" y="68"/>
                    </a:cubicBezTo>
                    <a:cubicBezTo>
                      <a:pt x="303" y="42"/>
                      <a:pt x="320" y="50"/>
                      <a:pt x="320" y="50"/>
                    </a:cubicBezTo>
                    <a:cubicBezTo>
                      <a:pt x="334" y="55"/>
                      <a:pt x="330" y="28"/>
                      <a:pt x="348" y="46"/>
                    </a:cubicBezTo>
                    <a:cubicBezTo>
                      <a:pt x="348" y="46"/>
                      <a:pt x="345" y="53"/>
                      <a:pt x="349" y="60"/>
                    </a:cubicBezTo>
                    <a:cubicBezTo>
                      <a:pt x="349" y="60"/>
                      <a:pt x="356" y="64"/>
                      <a:pt x="352" y="75"/>
                    </a:cubicBezTo>
                    <a:cubicBezTo>
                      <a:pt x="352" y="75"/>
                      <a:pt x="358" y="91"/>
                      <a:pt x="351" y="96"/>
                    </a:cubicBezTo>
                    <a:cubicBezTo>
                      <a:pt x="351" y="96"/>
                      <a:pt x="337" y="94"/>
                      <a:pt x="348" y="110"/>
                    </a:cubicBezTo>
                    <a:cubicBezTo>
                      <a:pt x="348" y="110"/>
                      <a:pt x="343" y="119"/>
                      <a:pt x="357" y="123"/>
                    </a:cubicBezTo>
                    <a:cubicBezTo>
                      <a:pt x="356" y="132"/>
                      <a:pt x="365" y="133"/>
                      <a:pt x="361" y="140"/>
                    </a:cubicBezTo>
                    <a:cubicBezTo>
                      <a:pt x="361" y="140"/>
                      <a:pt x="367" y="154"/>
                      <a:pt x="353" y="149"/>
                    </a:cubicBezTo>
                    <a:cubicBezTo>
                      <a:pt x="353" y="149"/>
                      <a:pt x="348" y="150"/>
                      <a:pt x="348" y="156"/>
                    </a:cubicBezTo>
                    <a:cubicBezTo>
                      <a:pt x="348" y="156"/>
                      <a:pt x="360" y="157"/>
                      <a:pt x="361" y="161"/>
                    </a:cubicBezTo>
                    <a:cubicBezTo>
                      <a:pt x="361" y="161"/>
                      <a:pt x="363" y="171"/>
                      <a:pt x="362" y="181"/>
                    </a:cubicBezTo>
                    <a:cubicBezTo>
                      <a:pt x="362" y="181"/>
                      <a:pt x="367" y="194"/>
                      <a:pt x="348" y="196"/>
                    </a:cubicBezTo>
                    <a:cubicBezTo>
                      <a:pt x="348" y="196"/>
                      <a:pt x="334" y="202"/>
                      <a:pt x="340" y="215"/>
                    </a:cubicBezTo>
                    <a:cubicBezTo>
                      <a:pt x="338" y="218"/>
                      <a:pt x="356" y="218"/>
                      <a:pt x="356" y="225"/>
                    </a:cubicBezTo>
                    <a:cubicBezTo>
                      <a:pt x="357" y="237"/>
                      <a:pt x="338" y="225"/>
                      <a:pt x="341" y="233"/>
                    </a:cubicBezTo>
                    <a:cubicBezTo>
                      <a:pt x="341" y="233"/>
                      <a:pt x="351" y="236"/>
                      <a:pt x="346" y="240"/>
                    </a:cubicBezTo>
                    <a:cubicBezTo>
                      <a:pt x="346" y="240"/>
                      <a:pt x="340" y="247"/>
                      <a:pt x="327" y="250"/>
                    </a:cubicBezTo>
                    <a:cubicBezTo>
                      <a:pt x="327" y="250"/>
                      <a:pt x="348" y="252"/>
                      <a:pt x="331" y="257"/>
                    </a:cubicBezTo>
                    <a:cubicBezTo>
                      <a:pt x="331" y="257"/>
                      <a:pt x="317" y="263"/>
                      <a:pt x="312" y="258"/>
                    </a:cubicBezTo>
                    <a:cubicBezTo>
                      <a:pt x="312" y="258"/>
                      <a:pt x="295" y="249"/>
                      <a:pt x="290" y="262"/>
                    </a:cubicBezTo>
                    <a:cubicBezTo>
                      <a:pt x="280" y="266"/>
                      <a:pt x="273" y="253"/>
                      <a:pt x="269" y="266"/>
                    </a:cubicBezTo>
                    <a:cubicBezTo>
                      <a:pt x="269" y="266"/>
                      <a:pt x="257" y="258"/>
                      <a:pt x="246" y="277"/>
                    </a:cubicBezTo>
                    <a:cubicBezTo>
                      <a:pt x="246" y="277"/>
                      <a:pt x="227" y="275"/>
                      <a:pt x="224" y="280"/>
                    </a:cubicBezTo>
                    <a:cubicBezTo>
                      <a:pt x="218" y="257"/>
                      <a:pt x="229" y="240"/>
                      <a:pt x="229" y="240"/>
                    </a:cubicBezTo>
                    <a:cubicBezTo>
                      <a:pt x="209" y="264"/>
                      <a:pt x="214" y="273"/>
                      <a:pt x="214" y="273"/>
                    </a:cubicBezTo>
                    <a:cubicBezTo>
                      <a:pt x="222" y="304"/>
                      <a:pt x="210" y="300"/>
                      <a:pt x="210" y="300"/>
                    </a:cubicBezTo>
                    <a:cubicBezTo>
                      <a:pt x="204" y="302"/>
                      <a:pt x="191" y="294"/>
                      <a:pt x="191" y="294"/>
                    </a:cubicBezTo>
                    <a:cubicBezTo>
                      <a:pt x="180" y="298"/>
                      <a:pt x="166" y="299"/>
                      <a:pt x="166" y="299"/>
                    </a:cubicBezTo>
                    <a:cubicBezTo>
                      <a:pt x="166" y="299"/>
                      <a:pt x="166" y="299"/>
                      <a:pt x="166" y="299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74" y="274"/>
                      <a:pt x="174" y="274"/>
                      <a:pt x="174" y="274"/>
                    </a:cubicBezTo>
                    <a:cubicBezTo>
                      <a:pt x="165" y="292"/>
                      <a:pt x="152" y="301"/>
                      <a:pt x="152" y="301"/>
                    </a:cubicBezTo>
                    <a:cubicBezTo>
                      <a:pt x="142" y="304"/>
                      <a:pt x="127" y="294"/>
                      <a:pt x="127" y="294"/>
                    </a:cubicBezTo>
                    <a:cubicBezTo>
                      <a:pt x="127" y="294"/>
                      <a:pt x="127" y="294"/>
                      <a:pt x="127" y="294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4" name="Freeform 37"/>
              <p:cNvSpPr>
                <a:spLocks/>
              </p:cNvSpPr>
              <p:nvPr/>
            </p:nvSpPr>
            <p:spPr bwMode="auto">
              <a:xfrm>
                <a:off x="4460297" y="4052764"/>
                <a:ext cx="1052587" cy="860339"/>
              </a:xfrm>
              <a:custGeom>
                <a:avLst/>
                <a:gdLst>
                  <a:gd name="T0" fmla="*/ 2147483647 w 372"/>
                  <a:gd name="T1" fmla="*/ 2147483647 h 344"/>
                  <a:gd name="T2" fmla="*/ 2147483647 w 372"/>
                  <a:gd name="T3" fmla="*/ 2147483647 h 344"/>
                  <a:gd name="T4" fmla="*/ 2147483647 w 372"/>
                  <a:gd name="T5" fmla="*/ 2147483647 h 344"/>
                  <a:gd name="T6" fmla="*/ 2147483647 w 372"/>
                  <a:gd name="T7" fmla="*/ 2147483647 h 344"/>
                  <a:gd name="T8" fmla="*/ 2147483647 w 372"/>
                  <a:gd name="T9" fmla="*/ 2147483647 h 344"/>
                  <a:gd name="T10" fmla="*/ 2147483647 w 372"/>
                  <a:gd name="T11" fmla="*/ 2147483647 h 344"/>
                  <a:gd name="T12" fmla="*/ 2147483647 w 372"/>
                  <a:gd name="T13" fmla="*/ 2147483647 h 344"/>
                  <a:gd name="T14" fmla="*/ 2147483647 w 372"/>
                  <a:gd name="T15" fmla="*/ 2147483647 h 344"/>
                  <a:gd name="T16" fmla="*/ 2147483647 w 372"/>
                  <a:gd name="T17" fmla="*/ 2147483647 h 344"/>
                  <a:gd name="T18" fmla="*/ 2147483647 w 372"/>
                  <a:gd name="T19" fmla="*/ 2147483647 h 344"/>
                  <a:gd name="T20" fmla="*/ 2147483647 w 372"/>
                  <a:gd name="T21" fmla="*/ 2147483647 h 344"/>
                  <a:gd name="T22" fmla="*/ 2147483647 w 372"/>
                  <a:gd name="T23" fmla="*/ 2147483647 h 344"/>
                  <a:gd name="T24" fmla="*/ 2147483647 w 372"/>
                  <a:gd name="T25" fmla="*/ 2147483647 h 344"/>
                  <a:gd name="T26" fmla="*/ 2147483647 w 372"/>
                  <a:gd name="T27" fmla="*/ 2147483647 h 344"/>
                  <a:gd name="T28" fmla="*/ 2147483647 w 372"/>
                  <a:gd name="T29" fmla="*/ 2147483647 h 344"/>
                  <a:gd name="T30" fmla="*/ 2147483647 w 372"/>
                  <a:gd name="T31" fmla="*/ 2147483647 h 344"/>
                  <a:gd name="T32" fmla="*/ 2147483647 w 372"/>
                  <a:gd name="T33" fmla="*/ 2147483647 h 344"/>
                  <a:gd name="T34" fmla="*/ 2147483647 w 372"/>
                  <a:gd name="T35" fmla="*/ 2147483647 h 344"/>
                  <a:gd name="T36" fmla="*/ 2147483647 w 372"/>
                  <a:gd name="T37" fmla="*/ 2147483647 h 344"/>
                  <a:gd name="T38" fmla="*/ 2147483647 w 372"/>
                  <a:gd name="T39" fmla="*/ 2147483647 h 344"/>
                  <a:gd name="T40" fmla="*/ 2147483647 w 372"/>
                  <a:gd name="T41" fmla="*/ 2147483647 h 344"/>
                  <a:gd name="T42" fmla="*/ 2147483647 w 372"/>
                  <a:gd name="T43" fmla="*/ 2147483647 h 344"/>
                  <a:gd name="T44" fmla="*/ 2147483647 w 372"/>
                  <a:gd name="T45" fmla="*/ 2147483647 h 344"/>
                  <a:gd name="T46" fmla="*/ 2147483647 w 372"/>
                  <a:gd name="T47" fmla="*/ 2147483647 h 344"/>
                  <a:gd name="T48" fmla="*/ 2147483647 w 372"/>
                  <a:gd name="T49" fmla="*/ 2147483647 h 344"/>
                  <a:gd name="T50" fmla="*/ 2147483647 w 372"/>
                  <a:gd name="T51" fmla="*/ 2147483647 h 344"/>
                  <a:gd name="T52" fmla="*/ 2147483647 w 372"/>
                  <a:gd name="T53" fmla="*/ 2147483647 h 344"/>
                  <a:gd name="T54" fmla="*/ 2147483647 w 372"/>
                  <a:gd name="T55" fmla="*/ 2147483647 h 344"/>
                  <a:gd name="T56" fmla="*/ 2147483647 w 372"/>
                  <a:gd name="T57" fmla="*/ 2147483647 h 344"/>
                  <a:gd name="T58" fmla="*/ 2147483647 w 372"/>
                  <a:gd name="T59" fmla="*/ 2147483647 h 344"/>
                  <a:gd name="T60" fmla="*/ 2147483647 w 372"/>
                  <a:gd name="T61" fmla="*/ 2147483647 h 344"/>
                  <a:gd name="T62" fmla="*/ 2147483647 w 372"/>
                  <a:gd name="T63" fmla="*/ 2147483647 h 344"/>
                  <a:gd name="T64" fmla="*/ 2147483647 w 372"/>
                  <a:gd name="T65" fmla="*/ 2147483647 h 344"/>
                  <a:gd name="T66" fmla="*/ 2147483647 w 372"/>
                  <a:gd name="T67" fmla="*/ 2147483647 h 344"/>
                  <a:gd name="T68" fmla="*/ 2147483647 w 372"/>
                  <a:gd name="T69" fmla="*/ 2147483647 h 344"/>
                  <a:gd name="T70" fmla="*/ 0 w 372"/>
                  <a:gd name="T71" fmla="*/ 2147483647 h 34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72"/>
                  <a:gd name="T109" fmla="*/ 0 h 344"/>
                  <a:gd name="T110" fmla="*/ 372 w 372"/>
                  <a:gd name="T111" fmla="*/ 344 h 34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72" h="344">
                    <a:moveTo>
                      <a:pt x="0" y="133"/>
                    </a:moveTo>
                    <a:cubicBezTo>
                      <a:pt x="0" y="133"/>
                      <a:pt x="5" y="128"/>
                      <a:pt x="15" y="128"/>
                    </a:cubicBezTo>
                    <a:cubicBezTo>
                      <a:pt x="15" y="128"/>
                      <a:pt x="27" y="125"/>
                      <a:pt x="32" y="119"/>
                    </a:cubicBezTo>
                    <a:cubicBezTo>
                      <a:pt x="32" y="119"/>
                      <a:pt x="43" y="110"/>
                      <a:pt x="60" y="117"/>
                    </a:cubicBezTo>
                    <a:cubicBezTo>
                      <a:pt x="60" y="117"/>
                      <a:pt x="61" y="122"/>
                      <a:pt x="77" y="121"/>
                    </a:cubicBezTo>
                    <a:cubicBezTo>
                      <a:pt x="77" y="121"/>
                      <a:pt x="86" y="124"/>
                      <a:pt x="82" y="106"/>
                    </a:cubicBezTo>
                    <a:cubicBezTo>
                      <a:pt x="82" y="106"/>
                      <a:pt x="82" y="96"/>
                      <a:pt x="84" y="92"/>
                    </a:cubicBezTo>
                    <a:cubicBezTo>
                      <a:pt x="93" y="80"/>
                      <a:pt x="75" y="86"/>
                      <a:pt x="79" y="66"/>
                    </a:cubicBezTo>
                    <a:cubicBezTo>
                      <a:pt x="79" y="66"/>
                      <a:pt x="67" y="59"/>
                      <a:pt x="67" y="55"/>
                    </a:cubicBezTo>
                    <a:cubicBezTo>
                      <a:pt x="67" y="45"/>
                      <a:pt x="85" y="46"/>
                      <a:pt x="78" y="43"/>
                    </a:cubicBezTo>
                    <a:cubicBezTo>
                      <a:pt x="78" y="43"/>
                      <a:pt x="72" y="34"/>
                      <a:pt x="65" y="34"/>
                    </a:cubicBezTo>
                    <a:cubicBezTo>
                      <a:pt x="65" y="34"/>
                      <a:pt x="71" y="29"/>
                      <a:pt x="69" y="25"/>
                    </a:cubicBezTo>
                    <a:cubicBezTo>
                      <a:pt x="69" y="25"/>
                      <a:pt x="68" y="16"/>
                      <a:pt x="86" y="18"/>
                    </a:cubicBezTo>
                    <a:cubicBezTo>
                      <a:pt x="86" y="18"/>
                      <a:pt x="89" y="7"/>
                      <a:pt x="102" y="11"/>
                    </a:cubicBezTo>
                    <a:cubicBezTo>
                      <a:pt x="104" y="10"/>
                      <a:pt x="105" y="9"/>
                      <a:pt x="107" y="10"/>
                    </a:cubicBezTo>
                    <a:cubicBezTo>
                      <a:pt x="109" y="11"/>
                      <a:pt x="110" y="12"/>
                      <a:pt x="112" y="11"/>
                    </a:cubicBezTo>
                    <a:cubicBezTo>
                      <a:pt x="112" y="11"/>
                      <a:pt x="119" y="7"/>
                      <a:pt x="137" y="11"/>
                    </a:cubicBezTo>
                    <a:cubicBezTo>
                      <a:pt x="137" y="11"/>
                      <a:pt x="146" y="18"/>
                      <a:pt x="157" y="11"/>
                    </a:cubicBezTo>
                    <a:cubicBezTo>
                      <a:pt x="157" y="11"/>
                      <a:pt x="167" y="0"/>
                      <a:pt x="177" y="9"/>
                    </a:cubicBezTo>
                    <a:cubicBezTo>
                      <a:pt x="177" y="9"/>
                      <a:pt x="183" y="15"/>
                      <a:pt x="194" y="15"/>
                    </a:cubicBezTo>
                    <a:cubicBezTo>
                      <a:pt x="194" y="15"/>
                      <a:pt x="205" y="5"/>
                      <a:pt x="206" y="18"/>
                    </a:cubicBezTo>
                    <a:cubicBezTo>
                      <a:pt x="206" y="18"/>
                      <a:pt x="209" y="24"/>
                      <a:pt x="214" y="15"/>
                    </a:cubicBezTo>
                    <a:cubicBezTo>
                      <a:pt x="214" y="15"/>
                      <a:pt x="210" y="22"/>
                      <a:pt x="219" y="34"/>
                    </a:cubicBezTo>
                    <a:cubicBezTo>
                      <a:pt x="219" y="34"/>
                      <a:pt x="236" y="38"/>
                      <a:pt x="222" y="48"/>
                    </a:cubicBezTo>
                    <a:cubicBezTo>
                      <a:pt x="222" y="48"/>
                      <a:pt x="222" y="57"/>
                      <a:pt x="233" y="52"/>
                    </a:cubicBezTo>
                    <a:cubicBezTo>
                      <a:pt x="233" y="52"/>
                      <a:pt x="235" y="45"/>
                      <a:pt x="245" y="55"/>
                    </a:cubicBezTo>
                    <a:cubicBezTo>
                      <a:pt x="245" y="55"/>
                      <a:pt x="245" y="62"/>
                      <a:pt x="257" y="52"/>
                    </a:cubicBezTo>
                    <a:cubicBezTo>
                      <a:pt x="257" y="52"/>
                      <a:pt x="265" y="58"/>
                      <a:pt x="269" y="53"/>
                    </a:cubicBezTo>
                    <a:cubicBezTo>
                      <a:pt x="269" y="53"/>
                      <a:pt x="273" y="47"/>
                      <a:pt x="283" y="51"/>
                    </a:cubicBezTo>
                    <a:cubicBezTo>
                      <a:pt x="284" y="61"/>
                      <a:pt x="290" y="59"/>
                      <a:pt x="290" y="59"/>
                    </a:cubicBezTo>
                    <a:cubicBezTo>
                      <a:pt x="297" y="59"/>
                      <a:pt x="298" y="70"/>
                      <a:pt x="298" y="70"/>
                    </a:cubicBezTo>
                    <a:cubicBezTo>
                      <a:pt x="302" y="78"/>
                      <a:pt x="308" y="89"/>
                      <a:pt x="308" y="89"/>
                    </a:cubicBezTo>
                    <a:cubicBezTo>
                      <a:pt x="318" y="86"/>
                      <a:pt x="323" y="95"/>
                      <a:pt x="323" y="95"/>
                    </a:cubicBezTo>
                    <a:cubicBezTo>
                      <a:pt x="327" y="102"/>
                      <a:pt x="331" y="89"/>
                      <a:pt x="338" y="100"/>
                    </a:cubicBezTo>
                    <a:cubicBezTo>
                      <a:pt x="346" y="101"/>
                      <a:pt x="354" y="111"/>
                      <a:pt x="354" y="111"/>
                    </a:cubicBezTo>
                    <a:cubicBezTo>
                      <a:pt x="372" y="110"/>
                      <a:pt x="366" y="121"/>
                      <a:pt x="366" y="121"/>
                    </a:cubicBezTo>
                    <a:cubicBezTo>
                      <a:pt x="348" y="125"/>
                      <a:pt x="360" y="128"/>
                      <a:pt x="360" y="128"/>
                    </a:cubicBezTo>
                    <a:cubicBezTo>
                      <a:pt x="360" y="128"/>
                      <a:pt x="368" y="132"/>
                      <a:pt x="354" y="135"/>
                    </a:cubicBezTo>
                    <a:cubicBezTo>
                      <a:pt x="347" y="134"/>
                      <a:pt x="356" y="146"/>
                      <a:pt x="344" y="142"/>
                    </a:cubicBezTo>
                    <a:cubicBezTo>
                      <a:pt x="323" y="144"/>
                      <a:pt x="334" y="154"/>
                      <a:pt x="334" y="154"/>
                    </a:cubicBezTo>
                    <a:cubicBezTo>
                      <a:pt x="339" y="161"/>
                      <a:pt x="328" y="166"/>
                      <a:pt x="328" y="166"/>
                    </a:cubicBezTo>
                    <a:cubicBezTo>
                      <a:pt x="347" y="170"/>
                      <a:pt x="347" y="186"/>
                      <a:pt x="347" y="186"/>
                    </a:cubicBezTo>
                    <a:cubicBezTo>
                      <a:pt x="368" y="186"/>
                      <a:pt x="363" y="196"/>
                      <a:pt x="363" y="196"/>
                    </a:cubicBezTo>
                    <a:cubicBezTo>
                      <a:pt x="365" y="203"/>
                      <a:pt x="358" y="204"/>
                      <a:pt x="358" y="204"/>
                    </a:cubicBezTo>
                    <a:cubicBezTo>
                      <a:pt x="341" y="207"/>
                      <a:pt x="356" y="220"/>
                      <a:pt x="356" y="220"/>
                    </a:cubicBezTo>
                    <a:cubicBezTo>
                      <a:pt x="340" y="230"/>
                      <a:pt x="328" y="245"/>
                      <a:pt x="328" y="245"/>
                    </a:cubicBezTo>
                    <a:cubicBezTo>
                      <a:pt x="295" y="231"/>
                      <a:pt x="267" y="272"/>
                      <a:pt x="267" y="272"/>
                    </a:cubicBezTo>
                    <a:cubicBezTo>
                      <a:pt x="250" y="258"/>
                      <a:pt x="234" y="267"/>
                      <a:pt x="234" y="267"/>
                    </a:cubicBezTo>
                    <a:cubicBezTo>
                      <a:pt x="204" y="272"/>
                      <a:pt x="194" y="293"/>
                      <a:pt x="194" y="293"/>
                    </a:cubicBezTo>
                    <a:cubicBezTo>
                      <a:pt x="192" y="303"/>
                      <a:pt x="178" y="309"/>
                      <a:pt x="178" y="309"/>
                    </a:cubicBezTo>
                    <a:cubicBezTo>
                      <a:pt x="178" y="309"/>
                      <a:pt x="178" y="309"/>
                      <a:pt x="178" y="309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52" y="333"/>
                      <a:pt x="152" y="333"/>
                      <a:pt x="152" y="333"/>
                    </a:cubicBezTo>
                    <a:cubicBezTo>
                      <a:pt x="139" y="337"/>
                      <a:pt x="145" y="322"/>
                      <a:pt x="145" y="322"/>
                    </a:cubicBezTo>
                    <a:cubicBezTo>
                      <a:pt x="141" y="310"/>
                      <a:pt x="136" y="322"/>
                      <a:pt x="136" y="322"/>
                    </a:cubicBezTo>
                    <a:cubicBezTo>
                      <a:pt x="134" y="332"/>
                      <a:pt x="130" y="338"/>
                      <a:pt x="125" y="343"/>
                    </a:cubicBezTo>
                    <a:cubicBezTo>
                      <a:pt x="110" y="344"/>
                      <a:pt x="113" y="334"/>
                      <a:pt x="113" y="334"/>
                    </a:cubicBezTo>
                    <a:cubicBezTo>
                      <a:pt x="115" y="308"/>
                      <a:pt x="101" y="311"/>
                      <a:pt x="101" y="311"/>
                    </a:cubicBezTo>
                    <a:cubicBezTo>
                      <a:pt x="87" y="309"/>
                      <a:pt x="87" y="300"/>
                      <a:pt x="87" y="300"/>
                    </a:cubicBezTo>
                    <a:cubicBezTo>
                      <a:pt x="68" y="297"/>
                      <a:pt x="72" y="287"/>
                      <a:pt x="72" y="287"/>
                    </a:cubicBezTo>
                    <a:cubicBezTo>
                      <a:pt x="75" y="280"/>
                      <a:pt x="65" y="276"/>
                      <a:pt x="65" y="276"/>
                    </a:cubicBezTo>
                    <a:cubicBezTo>
                      <a:pt x="49" y="275"/>
                      <a:pt x="65" y="264"/>
                      <a:pt x="65" y="264"/>
                    </a:cubicBezTo>
                    <a:cubicBezTo>
                      <a:pt x="74" y="261"/>
                      <a:pt x="70" y="252"/>
                      <a:pt x="70" y="252"/>
                    </a:cubicBezTo>
                    <a:cubicBezTo>
                      <a:pt x="86" y="243"/>
                      <a:pt x="70" y="237"/>
                      <a:pt x="70" y="237"/>
                    </a:cubicBezTo>
                    <a:cubicBezTo>
                      <a:pt x="70" y="227"/>
                      <a:pt x="58" y="229"/>
                      <a:pt x="58" y="229"/>
                    </a:cubicBezTo>
                    <a:cubicBezTo>
                      <a:pt x="52" y="229"/>
                      <a:pt x="50" y="220"/>
                      <a:pt x="50" y="220"/>
                    </a:cubicBezTo>
                    <a:cubicBezTo>
                      <a:pt x="39" y="216"/>
                      <a:pt x="42" y="202"/>
                      <a:pt x="42" y="202"/>
                    </a:cubicBezTo>
                    <a:cubicBezTo>
                      <a:pt x="31" y="195"/>
                      <a:pt x="37" y="176"/>
                      <a:pt x="37" y="176"/>
                    </a:cubicBezTo>
                    <a:cubicBezTo>
                      <a:pt x="29" y="151"/>
                      <a:pt x="23" y="169"/>
                      <a:pt x="23" y="169"/>
                    </a:cubicBezTo>
                    <a:cubicBezTo>
                      <a:pt x="9" y="176"/>
                      <a:pt x="9" y="158"/>
                      <a:pt x="9" y="158"/>
                    </a:cubicBezTo>
                    <a:cubicBezTo>
                      <a:pt x="0" y="148"/>
                      <a:pt x="0" y="133"/>
                      <a:pt x="0" y="133"/>
                    </a:cubicBezTo>
                    <a:cubicBezTo>
                      <a:pt x="0" y="133"/>
                      <a:pt x="0" y="133"/>
                      <a:pt x="0" y="133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5" name="Freeform 36"/>
              <p:cNvSpPr>
                <a:spLocks/>
              </p:cNvSpPr>
              <p:nvPr/>
            </p:nvSpPr>
            <p:spPr bwMode="auto">
              <a:xfrm>
                <a:off x="3620354" y="4335616"/>
                <a:ext cx="1193463" cy="729521"/>
              </a:xfrm>
              <a:custGeom>
                <a:avLst/>
                <a:gdLst>
                  <a:gd name="T0" fmla="*/ 2147483647 w 421"/>
                  <a:gd name="T1" fmla="*/ 2147483647 h 292"/>
                  <a:gd name="T2" fmla="*/ 2147483647 w 421"/>
                  <a:gd name="T3" fmla="*/ 2147483647 h 292"/>
                  <a:gd name="T4" fmla="*/ 2147483647 w 421"/>
                  <a:gd name="T5" fmla="*/ 2147483647 h 292"/>
                  <a:gd name="T6" fmla="*/ 2147483647 w 421"/>
                  <a:gd name="T7" fmla="*/ 2147483647 h 292"/>
                  <a:gd name="T8" fmla="*/ 2147483647 w 421"/>
                  <a:gd name="T9" fmla="*/ 2147483647 h 292"/>
                  <a:gd name="T10" fmla="*/ 2147483647 w 421"/>
                  <a:gd name="T11" fmla="*/ 2147483647 h 292"/>
                  <a:gd name="T12" fmla="*/ 2147483647 w 421"/>
                  <a:gd name="T13" fmla="*/ 2147483647 h 292"/>
                  <a:gd name="T14" fmla="*/ 2147483647 w 421"/>
                  <a:gd name="T15" fmla="*/ 2147483647 h 292"/>
                  <a:gd name="T16" fmla="*/ 2147483647 w 421"/>
                  <a:gd name="T17" fmla="*/ 2147483647 h 292"/>
                  <a:gd name="T18" fmla="*/ 2147483647 w 421"/>
                  <a:gd name="T19" fmla="*/ 2147483647 h 292"/>
                  <a:gd name="T20" fmla="*/ 2147483647 w 421"/>
                  <a:gd name="T21" fmla="*/ 2147483647 h 292"/>
                  <a:gd name="T22" fmla="*/ 2147483647 w 421"/>
                  <a:gd name="T23" fmla="*/ 2147483647 h 292"/>
                  <a:gd name="T24" fmla="*/ 2147483647 w 421"/>
                  <a:gd name="T25" fmla="*/ 2147483647 h 292"/>
                  <a:gd name="T26" fmla="*/ 2147483647 w 421"/>
                  <a:gd name="T27" fmla="*/ 2147483647 h 292"/>
                  <a:gd name="T28" fmla="*/ 2147483647 w 421"/>
                  <a:gd name="T29" fmla="*/ 2147483647 h 292"/>
                  <a:gd name="T30" fmla="*/ 2147483647 w 421"/>
                  <a:gd name="T31" fmla="*/ 2147483647 h 292"/>
                  <a:gd name="T32" fmla="*/ 2147483647 w 421"/>
                  <a:gd name="T33" fmla="*/ 2147483647 h 292"/>
                  <a:gd name="T34" fmla="*/ 2147483647 w 421"/>
                  <a:gd name="T35" fmla="*/ 2147483647 h 292"/>
                  <a:gd name="T36" fmla="*/ 2147483647 w 421"/>
                  <a:gd name="T37" fmla="*/ 2147483647 h 292"/>
                  <a:gd name="T38" fmla="*/ 2147483647 w 421"/>
                  <a:gd name="T39" fmla="*/ 2147483647 h 292"/>
                  <a:gd name="T40" fmla="*/ 2147483647 w 421"/>
                  <a:gd name="T41" fmla="*/ 2147483647 h 292"/>
                  <a:gd name="T42" fmla="*/ 2147483647 w 421"/>
                  <a:gd name="T43" fmla="*/ 2147483647 h 292"/>
                  <a:gd name="T44" fmla="*/ 2147483647 w 421"/>
                  <a:gd name="T45" fmla="*/ 2147483647 h 292"/>
                  <a:gd name="T46" fmla="*/ 2147483647 w 421"/>
                  <a:gd name="T47" fmla="*/ 2147483647 h 292"/>
                  <a:gd name="T48" fmla="*/ 2147483647 w 421"/>
                  <a:gd name="T49" fmla="*/ 2147483647 h 292"/>
                  <a:gd name="T50" fmla="*/ 2147483647 w 421"/>
                  <a:gd name="T51" fmla="*/ 2147483647 h 292"/>
                  <a:gd name="T52" fmla="*/ 2147483647 w 421"/>
                  <a:gd name="T53" fmla="*/ 2147483647 h 292"/>
                  <a:gd name="T54" fmla="*/ 2147483647 w 421"/>
                  <a:gd name="T55" fmla="*/ 2147483647 h 292"/>
                  <a:gd name="T56" fmla="*/ 2147483647 w 421"/>
                  <a:gd name="T57" fmla="*/ 2147483647 h 292"/>
                  <a:gd name="T58" fmla="*/ 2147483647 w 421"/>
                  <a:gd name="T59" fmla="*/ 2147483647 h 292"/>
                  <a:gd name="T60" fmla="*/ 2147483647 w 421"/>
                  <a:gd name="T61" fmla="*/ 2147483647 h 292"/>
                  <a:gd name="T62" fmla="*/ 2147483647 w 421"/>
                  <a:gd name="T63" fmla="*/ 2147483647 h 292"/>
                  <a:gd name="T64" fmla="*/ 2147483647 w 421"/>
                  <a:gd name="T65" fmla="*/ 2147483647 h 292"/>
                  <a:gd name="T66" fmla="*/ 0 w 421"/>
                  <a:gd name="T67" fmla="*/ 2147483647 h 292"/>
                  <a:gd name="T68" fmla="*/ 2147483647 w 421"/>
                  <a:gd name="T69" fmla="*/ 2147483647 h 292"/>
                  <a:gd name="T70" fmla="*/ 2147483647 w 421"/>
                  <a:gd name="T71" fmla="*/ 2147483647 h 292"/>
                  <a:gd name="T72" fmla="*/ 2147483647 w 421"/>
                  <a:gd name="T73" fmla="*/ 2147483647 h 292"/>
                  <a:gd name="T74" fmla="*/ 2147483647 w 421"/>
                  <a:gd name="T75" fmla="*/ 2147483647 h 292"/>
                  <a:gd name="T76" fmla="*/ 2147483647 w 421"/>
                  <a:gd name="T77" fmla="*/ 2147483647 h 292"/>
                  <a:gd name="T78" fmla="*/ 2147483647 w 421"/>
                  <a:gd name="T79" fmla="*/ 2147483647 h 292"/>
                  <a:gd name="T80" fmla="*/ 2147483647 w 421"/>
                  <a:gd name="T81" fmla="*/ 2147483647 h 292"/>
                  <a:gd name="T82" fmla="*/ 2147483647 w 421"/>
                  <a:gd name="T83" fmla="*/ 2147483647 h 292"/>
                  <a:gd name="T84" fmla="*/ 2147483647 w 421"/>
                  <a:gd name="T85" fmla="*/ 2147483647 h 2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421"/>
                  <a:gd name="T130" fmla="*/ 0 h 292"/>
                  <a:gd name="T131" fmla="*/ 421 w 421"/>
                  <a:gd name="T132" fmla="*/ 292 h 2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421" h="292">
                    <a:moveTo>
                      <a:pt x="23" y="165"/>
                    </a:moveTo>
                    <a:cubicBezTo>
                      <a:pt x="26" y="160"/>
                      <a:pt x="45" y="162"/>
                      <a:pt x="45" y="162"/>
                    </a:cubicBezTo>
                    <a:cubicBezTo>
                      <a:pt x="56" y="143"/>
                      <a:pt x="68" y="151"/>
                      <a:pt x="68" y="151"/>
                    </a:cubicBezTo>
                    <a:cubicBezTo>
                      <a:pt x="72" y="138"/>
                      <a:pt x="79" y="151"/>
                      <a:pt x="89" y="147"/>
                    </a:cubicBezTo>
                    <a:cubicBezTo>
                      <a:pt x="94" y="134"/>
                      <a:pt x="111" y="143"/>
                      <a:pt x="111" y="143"/>
                    </a:cubicBezTo>
                    <a:cubicBezTo>
                      <a:pt x="116" y="148"/>
                      <a:pt x="130" y="142"/>
                      <a:pt x="130" y="142"/>
                    </a:cubicBezTo>
                    <a:cubicBezTo>
                      <a:pt x="147" y="137"/>
                      <a:pt x="126" y="135"/>
                      <a:pt x="126" y="135"/>
                    </a:cubicBezTo>
                    <a:cubicBezTo>
                      <a:pt x="139" y="132"/>
                      <a:pt x="145" y="125"/>
                      <a:pt x="145" y="125"/>
                    </a:cubicBezTo>
                    <a:cubicBezTo>
                      <a:pt x="150" y="121"/>
                      <a:pt x="140" y="118"/>
                      <a:pt x="140" y="118"/>
                    </a:cubicBezTo>
                    <a:cubicBezTo>
                      <a:pt x="137" y="110"/>
                      <a:pt x="156" y="122"/>
                      <a:pt x="155" y="110"/>
                    </a:cubicBezTo>
                    <a:cubicBezTo>
                      <a:pt x="155" y="103"/>
                      <a:pt x="137" y="103"/>
                      <a:pt x="139" y="100"/>
                    </a:cubicBezTo>
                    <a:cubicBezTo>
                      <a:pt x="133" y="87"/>
                      <a:pt x="147" y="81"/>
                      <a:pt x="147" y="81"/>
                    </a:cubicBezTo>
                    <a:cubicBezTo>
                      <a:pt x="166" y="79"/>
                      <a:pt x="161" y="66"/>
                      <a:pt x="161" y="66"/>
                    </a:cubicBezTo>
                    <a:cubicBezTo>
                      <a:pt x="162" y="56"/>
                      <a:pt x="160" y="46"/>
                      <a:pt x="160" y="46"/>
                    </a:cubicBezTo>
                    <a:cubicBezTo>
                      <a:pt x="159" y="42"/>
                      <a:pt x="147" y="41"/>
                      <a:pt x="147" y="41"/>
                    </a:cubicBezTo>
                    <a:cubicBezTo>
                      <a:pt x="147" y="35"/>
                      <a:pt x="152" y="34"/>
                      <a:pt x="152" y="34"/>
                    </a:cubicBezTo>
                    <a:cubicBezTo>
                      <a:pt x="166" y="39"/>
                      <a:pt x="160" y="25"/>
                      <a:pt x="160" y="25"/>
                    </a:cubicBezTo>
                    <a:cubicBezTo>
                      <a:pt x="164" y="18"/>
                      <a:pt x="155" y="17"/>
                      <a:pt x="156" y="8"/>
                    </a:cubicBezTo>
                    <a:cubicBezTo>
                      <a:pt x="156" y="8"/>
                      <a:pt x="165" y="5"/>
                      <a:pt x="170" y="12"/>
                    </a:cubicBezTo>
                    <a:cubicBezTo>
                      <a:pt x="170" y="12"/>
                      <a:pt x="180" y="11"/>
                      <a:pt x="182" y="15"/>
                    </a:cubicBezTo>
                    <a:cubicBezTo>
                      <a:pt x="182" y="15"/>
                      <a:pt x="188" y="26"/>
                      <a:pt x="191" y="19"/>
                    </a:cubicBezTo>
                    <a:cubicBezTo>
                      <a:pt x="191" y="12"/>
                      <a:pt x="200" y="18"/>
                      <a:pt x="202" y="14"/>
                    </a:cubicBezTo>
                    <a:cubicBezTo>
                      <a:pt x="202" y="14"/>
                      <a:pt x="211" y="0"/>
                      <a:pt x="221" y="15"/>
                    </a:cubicBezTo>
                    <a:cubicBezTo>
                      <a:pt x="221" y="15"/>
                      <a:pt x="218" y="25"/>
                      <a:pt x="246" y="19"/>
                    </a:cubicBezTo>
                    <a:cubicBezTo>
                      <a:pt x="246" y="19"/>
                      <a:pt x="251" y="12"/>
                      <a:pt x="262" y="18"/>
                    </a:cubicBezTo>
                    <a:cubicBezTo>
                      <a:pt x="262" y="18"/>
                      <a:pt x="263" y="23"/>
                      <a:pt x="272" y="20"/>
                    </a:cubicBezTo>
                    <a:cubicBezTo>
                      <a:pt x="272" y="20"/>
                      <a:pt x="287" y="21"/>
                      <a:pt x="297" y="20"/>
                    </a:cubicBezTo>
                    <a:cubicBezTo>
                      <a:pt x="297" y="20"/>
                      <a:pt x="296" y="35"/>
                      <a:pt x="305" y="45"/>
                    </a:cubicBezTo>
                    <a:cubicBezTo>
                      <a:pt x="305" y="45"/>
                      <a:pt x="305" y="63"/>
                      <a:pt x="319" y="56"/>
                    </a:cubicBezTo>
                    <a:cubicBezTo>
                      <a:pt x="319" y="56"/>
                      <a:pt x="325" y="38"/>
                      <a:pt x="333" y="63"/>
                    </a:cubicBezTo>
                    <a:cubicBezTo>
                      <a:pt x="333" y="63"/>
                      <a:pt x="327" y="82"/>
                      <a:pt x="338" y="89"/>
                    </a:cubicBezTo>
                    <a:cubicBezTo>
                      <a:pt x="338" y="89"/>
                      <a:pt x="335" y="103"/>
                      <a:pt x="346" y="107"/>
                    </a:cubicBezTo>
                    <a:cubicBezTo>
                      <a:pt x="346" y="107"/>
                      <a:pt x="348" y="116"/>
                      <a:pt x="354" y="116"/>
                    </a:cubicBezTo>
                    <a:cubicBezTo>
                      <a:pt x="354" y="116"/>
                      <a:pt x="366" y="114"/>
                      <a:pt x="366" y="124"/>
                    </a:cubicBezTo>
                    <a:cubicBezTo>
                      <a:pt x="366" y="124"/>
                      <a:pt x="382" y="130"/>
                      <a:pt x="366" y="139"/>
                    </a:cubicBezTo>
                    <a:cubicBezTo>
                      <a:pt x="366" y="139"/>
                      <a:pt x="370" y="148"/>
                      <a:pt x="361" y="151"/>
                    </a:cubicBezTo>
                    <a:cubicBezTo>
                      <a:pt x="361" y="151"/>
                      <a:pt x="345" y="162"/>
                      <a:pt x="361" y="163"/>
                    </a:cubicBezTo>
                    <a:cubicBezTo>
                      <a:pt x="361" y="163"/>
                      <a:pt x="371" y="167"/>
                      <a:pt x="368" y="174"/>
                    </a:cubicBezTo>
                    <a:cubicBezTo>
                      <a:pt x="368" y="174"/>
                      <a:pt x="364" y="184"/>
                      <a:pt x="383" y="187"/>
                    </a:cubicBezTo>
                    <a:cubicBezTo>
                      <a:pt x="383" y="187"/>
                      <a:pt x="383" y="196"/>
                      <a:pt x="397" y="198"/>
                    </a:cubicBezTo>
                    <a:cubicBezTo>
                      <a:pt x="397" y="198"/>
                      <a:pt x="411" y="195"/>
                      <a:pt x="409" y="221"/>
                    </a:cubicBezTo>
                    <a:cubicBezTo>
                      <a:pt x="409" y="221"/>
                      <a:pt x="406" y="231"/>
                      <a:pt x="421" y="230"/>
                    </a:cubicBezTo>
                    <a:cubicBezTo>
                      <a:pt x="410" y="240"/>
                      <a:pt x="396" y="241"/>
                      <a:pt x="396" y="241"/>
                    </a:cubicBezTo>
                    <a:cubicBezTo>
                      <a:pt x="384" y="250"/>
                      <a:pt x="386" y="261"/>
                      <a:pt x="386" y="261"/>
                    </a:cubicBezTo>
                    <a:cubicBezTo>
                      <a:pt x="377" y="252"/>
                      <a:pt x="370" y="253"/>
                      <a:pt x="370" y="253"/>
                    </a:cubicBezTo>
                    <a:cubicBezTo>
                      <a:pt x="364" y="253"/>
                      <a:pt x="360" y="258"/>
                      <a:pt x="360" y="258"/>
                    </a:cubicBezTo>
                    <a:cubicBezTo>
                      <a:pt x="353" y="263"/>
                      <a:pt x="340" y="258"/>
                      <a:pt x="340" y="258"/>
                    </a:cubicBezTo>
                    <a:cubicBezTo>
                      <a:pt x="332" y="258"/>
                      <a:pt x="329" y="247"/>
                      <a:pt x="316" y="249"/>
                    </a:cubicBezTo>
                    <a:cubicBezTo>
                      <a:pt x="309" y="249"/>
                      <a:pt x="308" y="236"/>
                      <a:pt x="301" y="237"/>
                    </a:cubicBezTo>
                    <a:cubicBezTo>
                      <a:pt x="303" y="250"/>
                      <a:pt x="291" y="252"/>
                      <a:pt x="291" y="252"/>
                    </a:cubicBezTo>
                    <a:cubicBezTo>
                      <a:pt x="291" y="252"/>
                      <a:pt x="291" y="252"/>
                      <a:pt x="291" y="252"/>
                    </a:cubicBezTo>
                    <a:cubicBezTo>
                      <a:pt x="277" y="248"/>
                      <a:pt x="277" y="248"/>
                      <a:pt x="277" y="248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50" y="252"/>
                      <a:pt x="250" y="252"/>
                      <a:pt x="250" y="252"/>
                    </a:cubicBezTo>
                    <a:cubicBezTo>
                      <a:pt x="249" y="253"/>
                      <a:pt x="248" y="255"/>
                      <a:pt x="248" y="257"/>
                    </a:cubicBezTo>
                    <a:cubicBezTo>
                      <a:pt x="248" y="257"/>
                      <a:pt x="242" y="251"/>
                      <a:pt x="234" y="253"/>
                    </a:cubicBezTo>
                    <a:cubicBezTo>
                      <a:pt x="234" y="253"/>
                      <a:pt x="235" y="261"/>
                      <a:pt x="232" y="265"/>
                    </a:cubicBezTo>
                    <a:cubicBezTo>
                      <a:pt x="228" y="264"/>
                      <a:pt x="227" y="275"/>
                      <a:pt x="227" y="275"/>
                    </a:cubicBezTo>
                    <a:cubicBezTo>
                      <a:pt x="212" y="292"/>
                      <a:pt x="202" y="270"/>
                      <a:pt x="202" y="270"/>
                    </a:cubicBezTo>
                    <a:cubicBezTo>
                      <a:pt x="188" y="272"/>
                      <a:pt x="184" y="253"/>
                      <a:pt x="184" y="253"/>
                    </a:cubicBezTo>
                    <a:cubicBezTo>
                      <a:pt x="180" y="275"/>
                      <a:pt x="163" y="264"/>
                      <a:pt x="163" y="264"/>
                    </a:cubicBezTo>
                    <a:cubicBezTo>
                      <a:pt x="159" y="275"/>
                      <a:pt x="126" y="272"/>
                      <a:pt x="126" y="272"/>
                    </a:cubicBezTo>
                    <a:cubicBezTo>
                      <a:pt x="88" y="285"/>
                      <a:pt x="78" y="276"/>
                      <a:pt x="78" y="276"/>
                    </a:cubicBezTo>
                    <a:cubicBezTo>
                      <a:pt x="66" y="272"/>
                      <a:pt x="63" y="261"/>
                      <a:pt x="63" y="261"/>
                    </a:cubicBezTo>
                    <a:cubicBezTo>
                      <a:pt x="47" y="260"/>
                      <a:pt x="42" y="253"/>
                      <a:pt x="42" y="253"/>
                    </a:cubicBezTo>
                    <a:cubicBezTo>
                      <a:pt x="37" y="246"/>
                      <a:pt x="16" y="244"/>
                      <a:pt x="16" y="244"/>
                    </a:cubicBezTo>
                    <a:cubicBezTo>
                      <a:pt x="2" y="247"/>
                      <a:pt x="0" y="237"/>
                      <a:pt x="0" y="237"/>
                    </a:cubicBezTo>
                    <a:cubicBezTo>
                      <a:pt x="0" y="237"/>
                      <a:pt x="0" y="237"/>
                      <a:pt x="0" y="237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0" y="233"/>
                      <a:pt x="20" y="233"/>
                      <a:pt x="20" y="233"/>
                    </a:cubicBezTo>
                    <a:cubicBezTo>
                      <a:pt x="29" y="237"/>
                      <a:pt x="35" y="224"/>
                      <a:pt x="35" y="224"/>
                    </a:cubicBezTo>
                    <a:cubicBezTo>
                      <a:pt x="30" y="212"/>
                      <a:pt x="16" y="211"/>
                      <a:pt x="16" y="211"/>
                    </a:cubicBezTo>
                    <a:cubicBezTo>
                      <a:pt x="12" y="210"/>
                      <a:pt x="8" y="210"/>
                      <a:pt x="5" y="210"/>
                    </a:cubicBezTo>
                    <a:cubicBezTo>
                      <a:pt x="1" y="206"/>
                      <a:pt x="10" y="203"/>
                      <a:pt x="9" y="198"/>
                    </a:cubicBezTo>
                    <a:cubicBezTo>
                      <a:pt x="19" y="198"/>
                      <a:pt x="24" y="195"/>
                      <a:pt x="24" y="195"/>
                    </a:cubicBezTo>
                    <a:cubicBezTo>
                      <a:pt x="38" y="196"/>
                      <a:pt x="46" y="203"/>
                      <a:pt x="46" y="203"/>
                    </a:cubicBezTo>
                    <a:cubicBezTo>
                      <a:pt x="57" y="211"/>
                      <a:pt x="71" y="199"/>
                      <a:pt x="71" y="199"/>
                    </a:cubicBezTo>
                    <a:cubicBezTo>
                      <a:pt x="71" y="199"/>
                      <a:pt x="71" y="199"/>
                      <a:pt x="71" y="199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82" y="196"/>
                      <a:pt x="82" y="196"/>
                      <a:pt x="82" y="196"/>
                    </a:cubicBezTo>
                    <a:cubicBezTo>
                      <a:pt x="79" y="191"/>
                      <a:pt x="62" y="187"/>
                      <a:pt x="62" y="187"/>
                    </a:cubicBezTo>
                    <a:cubicBezTo>
                      <a:pt x="62" y="187"/>
                      <a:pt x="62" y="187"/>
                      <a:pt x="62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27" y="182"/>
                      <a:pt x="23" y="165"/>
                      <a:pt x="23" y="165"/>
                    </a:cubicBezTo>
                    <a:cubicBezTo>
                      <a:pt x="23" y="165"/>
                      <a:pt x="23" y="165"/>
                      <a:pt x="23" y="165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16" name="Freeform 35"/>
              <p:cNvSpPr>
                <a:spLocks/>
              </p:cNvSpPr>
              <p:nvPr/>
            </p:nvSpPr>
            <p:spPr bwMode="auto">
              <a:xfrm>
                <a:off x="338995" y="3515347"/>
                <a:ext cx="835956" cy="596345"/>
              </a:xfrm>
              <a:custGeom>
                <a:avLst/>
                <a:gdLst>
                  <a:gd name="T0" fmla="*/ 2147483647 w 295"/>
                  <a:gd name="T1" fmla="*/ 2147483647 h 238"/>
                  <a:gd name="T2" fmla="*/ 2147483647 w 295"/>
                  <a:gd name="T3" fmla="*/ 2147483647 h 238"/>
                  <a:gd name="T4" fmla="*/ 2147483647 w 295"/>
                  <a:gd name="T5" fmla="*/ 2147483647 h 238"/>
                  <a:gd name="T6" fmla="*/ 2147483647 w 295"/>
                  <a:gd name="T7" fmla="*/ 2147483647 h 238"/>
                  <a:gd name="T8" fmla="*/ 2147483647 w 295"/>
                  <a:gd name="T9" fmla="*/ 2147483647 h 238"/>
                  <a:gd name="T10" fmla="*/ 2147483647 w 295"/>
                  <a:gd name="T11" fmla="*/ 2147483647 h 238"/>
                  <a:gd name="T12" fmla="*/ 2147483647 w 295"/>
                  <a:gd name="T13" fmla="*/ 2147483647 h 238"/>
                  <a:gd name="T14" fmla="*/ 2147483647 w 295"/>
                  <a:gd name="T15" fmla="*/ 2147483647 h 238"/>
                  <a:gd name="T16" fmla="*/ 2147483647 w 295"/>
                  <a:gd name="T17" fmla="*/ 2147483647 h 238"/>
                  <a:gd name="T18" fmla="*/ 2147483647 w 295"/>
                  <a:gd name="T19" fmla="*/ 2147483647 h 238"/>
                  <a:gd name="T20" fmla="*/ 2147483647 w 295"/>
                  <a:gd name="T21" fmla="*/ 2147483647 h 238"/>
                  <a:gd name="T22" fmla="*/ 2147483647 w 295"/>
                  <a:gd name="T23" fmla="*/ 2147483647 h 238"/>
                  <a:gd name="T24" fmla="*/ 2147483647 w 295"/>
                  <a:gd name="T25" fmla="*/ 2147483647 h 238"/>
                  <a:gd name="T26" fmla="*/ 2147483647 w 295"/>
                  <a:gd name="T27" fmla="*/ 2147483647 h 238"/>
                  <a:gd name="T28" fmla="*/ 2147483647 w 295"/>
                  <a:gd name="T29" fmla="*/ 2147483647 h 238"/>
                  <a:gd name="T30" fmla="*/ 2147483647 w 295"/>
                  <a:gd name="T31" fmla="*/ 2147483647 h 238"/>
                  <a:gd name="T32" fmla="*/ 2147483647 w 295"/>
                  <a:gd name="T33" fmla="*/ 2147483647 h 238"/>
                  <a:gd name="T34" fmla="*/ 2147483647 w 295"/>
                  <a:gd name="T35" fmla="*/ 2147483647 h 238"/>
                  <a:gd name="T36" fmla="*/ 2147483647 w 295"/>
                  <a:gd name="T37" fmla="*/ 2147483647 h 238"/>
                  <a:gd name="T38" fmla="*/ 2147483647 w 295"/>
                  <a:gd name="T39" fmla="*/ 2147483647 h 238"/>
                  <a:gd name="T40" fmla="*/ 2147483647 w 295"/>
                  <a:gd name="T41" fmla="*/ 2147483647 h 238"/>
                  <a:gd name="T42" fmla="*/ 2147483647 w 295"/>
                  <a:gd name="T43" fmla="*/ 2147483647 h 238"/>
                  <a:gd name="T44" fmla="*/ 2147483647 w 295"/>
                  <a:gd name="T45" fmla="*/ 2147483647 h 238"/>
                  <a:gd name="T46" fmla="*/ 2147483647 w 295"/>
                  <a:gd name="T47" fmla="*/ 2147483647 h 238"/>
                  <a:gd name="T48" fmla="*/ 2147483647 w 295"/>
                  <a:gd name="T49" fmla="*/ 2147483647 h 238"/>
                  <a:gd name="T50" fmla="*/ 2147483647 w 295"/>
                  <a:gd name="T51" fmla="*/ 2147483647 h 238"/>
                  <a:gd name="T52" fmla="*/ 2147483647 w 295"/>
                  <a:gd name="T53" fmla="*/ 2147483647 h 238"/>
                  <a:gd name="T54" fmla="*/ 2147483647 w 295"/>
                  <a:gd name="T55" fmla="*/ 2147483647 h 238"/>
                  <a:gd name="T56" fmla="*/ 2147483647 w 295"/>
                  <a:gd name="T57" fmla="*/ 2147483647 h 238"/>
                  <a:gd name="T58" fmla="*/ 2147483647 w 295"/>
                  <a:gd name="T59" fmla="*/ 2147483647 h 238"/>
                  <a:gd name="T60" fmla="*/ 2147483647 w 295"/>
                  <a:gd name="T61" fmla="*/ 2147483647 h 238"/>
                  <a:gd name="T62" fmla="*/ 2147483647 w 295"/>
                  <a:gd name="T63" fmla="*/ 2147483647 h 238"/>
                  <a:gd name="T64" fmla="*/ 2147483647 w 295"/>
                  <a:gd name="T65" fmla="*/ 2147483647 h 238"/>
                  <a:gd name="T66" fmla="*/ 2147483647 w 295"/>
                  <a:gd name="T67" fmla="*/ 2147483647 h 238"/>
                  <a:gd name="T68" fmla="*/ 2147483647 w 295"/>
                  <a:gd name="T69" fmla="*/ 2147483647 h 238"/>
                  <a:gd name="T70" fmla="*/ 2147483647 w 295"/>
                  <a:gd name="T71" fmla="*/ 2147483647 h 238"/>
                  <a:gd name="T72" fmla="*/ 2147483647 w 295"/>
                  <a:gd name="T73" fmla="*/ 2147483647 h 238"/>
                  <a:gd name="T74" fmla="*/ 2147483647 w 295"/>
                  <a:gd name="T75" fmla="*/ 2147483647 h 238"/>
                  <a:gd name="T76" fmla="*/ 2147483647 w 295"/>
                  <a:gd name="T77" fmla="*/ 2147483647 h 238"/>
                  <a:gd name="T78" fmla="*/ 2147483647 w 295"/>
                  <a:gd name="T79" fmla="*/ 2147483647 h 238"/>
                  <a:gd name="T80" fmla="*/ 2147483647 w 295"/>
                  <a:gd name="T81" fmla="*/ 2147483647 h 238"/>
                  <a:gd name="T82" fmla="*/ 2147483647 w 295"/>
                  <a:gd name="T83" fmla="*/ 2147483647 h 238"/>
                  <a:gd name="T84" fmla="*/ 2147483647 w 295"/>
                  <a:gd name="T85" fmla="*/ 2147483647 h 23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5"/>
                  <a:gd name="T130" fmla="*/ 0 h 238"/>
                  <a:gd name="T131" fmla="*/ 295 w 295"/>
                  <a:gd name="T132" fmla="*/ 238 h 23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5" h="238">
                    <a:moveTo>
                      <a:pt x="171" y="84"/>
                    </a:move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5" y="83"/>
                      <a:pt x="155" y="83"/>
                    </a:cubicBezTo>
                    <a:cubicBezTo>
                      <a:pt x="155" y="83"/>
                      <a:pt x="152" y="74"/>
                      <a:pt x="141" y="74"/>
                    </a:cubicBezTo>
                    <a:cubicBezTo>
                      <a:pt x="141" y="74"/>
                      <a:pt x="129" y="76"/>
                      <a:pt x="127" y="63"/>
                    </a:cubicBezTo>
                    <a:cubicBezTo>
                      <a:pt x="127" y="63"/>
                      <a:pt x="127" y="47"/>
                      <a:pt x="115" y="54"/>
                    </a:cubicBezTo>
                    <a:cubicBezTo>
                      <a:pt x="115" y="54"/>
                      <a:pt x="105" y="53"/>
                      <a:pt x="103" y="45"/>
                    </a:cubicBezTo>
                    <a:cubicBezTo>
                      <a:pt x="103" y="45"/>
                      <a:pt x="97" y="42"/>
                      <a:pt x="100" y="17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1" y="0"/>
                      <a:pt x="66" y="1"/>
                      <a:pt x="63" y="4"/>
                    </a:cubicBezTo>
                    <a:cubicBezTo>
                      <a:pt x="61" y="6"/>
                      <a:pt x="61" y="11"/>
                      <a:pt x="61" y="11"/>
                    </a:cubicBezTo>
                    <a:cubicBezTo>
                      <a:pt x="46" y="19"/>
                      <a:pt x="44" y="32"/>
                      <a:pt x="44" y="32"/>
                    </a:cubicBezTo>
                    <a:cubicBezTo>
                      <a:pt x="35" y="39"/>
                      <a:pt x="35" y="55"/>
                      <a:pt x="35" y="55"/>
                    </a:cubicBezTo>
                    <a:cubicBezTo>
                      <a:pt x="35" y="55"/>
                      <a:pt x="28" y="75"/>
                      <a:pt x="6" y="86"/>
                    </a:cubicBezTo>
                    <a:cubicBezTo>
                      <a:pt x="0" y="98"/>
                      <a:pt x="1" y="118"/>
                      <a:pt x="1" y="118"/>
                    </a:cubicBezTo>
                    <a:cubicBezTo>
                      <a:pt x="16" y="113"/>
                      <a:pt x="14" y="130"/>
                      <a:pt x="14" y="130"/>
                    </a:cubicBezTo>
                    <a:cubicBezTo>
                      <a:pt x="24" y="131"/>
                      <a:pt x="21" y="142"/>
                      <a:pt x="21" y="142"/>
                    </a:cubicBezTo>
                    <a:cubicBezTo>
                      <a:pt x="20" y="154"/>
                      <a:pt x="30" y="152"/>
                      <a:pt x="30" y="152"/>
                    </a:cubicBezTo>
                    <a:cubicBezTo>
                      <a:pt x="45" y="149"/>
                      <a:pt x="35" y="164"/>
                      <a:pt x="46" y="167"/>
                    </a:cubicBezTo>
                    <a:cubicBezTo>
                      <a:pt x="46" y="189"/>
                      <a:pt x="61" y="182"/>
                      <a:pt x="61" y="182"/>
                    </a:cubicBezTo>
                    <a:cubicBezTo>
                      <a:pt x="76" y="175"/>
                      <a:pt x="83" y="195"/>
                      <a:pt x="75" y="197"/>
                    </a:cubicBezTo>
                    <a:cubicBezTo>
                      <a:pt x="72" y="209"/>
                      <a:pt x="76" y="212"/>
                      <a:pt x="76" y="212"/>
                    </a:cubicBezTo>
                    <a:cubicBezTo>
                      <a:pt x="87" y="212"/>
                      <a:pt x="84" y="196"/>
                      <a:pt x="104" y="202"/>
                    </a:cubicBezTo>
                    <a:cubicBezTo>
                      <a:pt x="113" y="175"/>
                      <a:pt x="129" y="196"/>
                      <a:pt x="129" y="196"/>
                    </a:cubicBezTo>
                    <a:cubicBezTo>
                      <a:pt x="139" y="214"/>
                      <a:pt x="155" y="211"/>
                      <a:pt x="155" y="211"/>
                    </a:cubicBezTo>
                    <a:cubicBezTo>
                      <a:pt x="164" y="205"/>
                      <a:pt x="179" y="216"/>
                      <a:pt x="179" y="216"/>
                    </a:cubicBezTo>
                    <a:cubicBezTo>
                      <a:pt x="189" y="215"/>
                      <a:pt x="195" y="230"/>
                      <a:pt x="210" y="226"/>
                    </a:cubicBezTo>
                    <a:cubicBezTo>
                      <a:pt x="220" y="224"/>
                      <a:pt x="230" y="238"/>
                      <a:pt x="250" y="233"/>
                    </a:cubicBezTo>
                    <a:cubicBezTo>
                      <a:pt x="266" y="229"/>
                      <a:pt x="277" y="230"/>
                      <a:pt x="283" y="233"/>
                    </a:cubicBezTo>
                    <a:cubicBezTo>
                      <a:pt x="295" y="212"/>
                      <a:pt x="282" y="204"/>
                      <a:pt x="282" y="204"/>
                    </a:cubicBezTo>
                    <a:cubicBezTo>
                      <a:pt x="273" y="200"/>
                      <a:pt x="284" y="190"/>
                      <a:pt x="277" y="186"/>
                    </a:cubicBezTo>
                    <a:cubicBezTo>
                      <a:pt x="271" y="167"/>
                      <a:pt x="262" y="165"/>
                      <a:pt x="262" y="165"/>
                    </a:cubicBezTo>
                    <a:cubicBezTo>
                      <a:pt x="255" y="149"/>
                      <a:pt x="249" y="161"/>
                      <a:pt x="249" y="161"/>
                    </a:cubicBezTo>
                    <a:cubicBezTo>
                      <a:pt x="224" y="164"/>
                      <a:pt x="233" y="149"/>
                      <a:pt x="233" y="149"/>
                    </a:cubicBezTo>
                    <a:cubicBezTo>
                      <a:pt x="238" y="120"/>
                      <a:pt x="231" y="128"/>
                      <a:pt x="231" y="128"/>
                    </a:cubicBezTo>
                    <a:cubicBezTo>
                      <a:pt x="220" y="127"/>
                      <a:pt x="216" y="134"/>
                      <a:pt x="216" y="134"/>
                    </a:cubicBezTo>
                    <a:cubicBezTo>
                      <a:pt x="203" y="136"/>
                      <a:pt x="211" y="125"/>
                      <a:pt x="211" y="125"/>
                    </a:cubicBezTo>
                    <a:cubicBezTo>
                      <a:pt x="210" y="118"/>
                      <a:pt x="203" y="117"/>
                      <a:pt x="203" y="117"/>
                    </a:cubicBezTo>
                    <a:cubicBezTo>
                      <a:pt x="194" y="115"/>
                      <a:pt x="200" y="100"/>
                      <a:pt x="183" y="101"/>
                    </a:cubicBezTo>
                    <a:cubicBezTo>
                      <a:pt x="184" y="92"/>
                      <a:pt x="171" y="84"/>
                      <a:pt x="171" y="84"/>
                    </a:cubicBezTo>
                    <a:cubicBezTo>
                      <a:pt x="171" y="84"/>
                      <a:pt x="171" y="84"/>
                      <a:pt x="171" y="84"/>
                    </a:cubicBezTo>
                    <a:close/>
                  </a:path>
                </a:pathLst>
              </a:custGeom>
              <a:solidFill>
                <a:srgbClr val="F8F8A2"/>
              </a:solidFill>
              <a:ln w="9525">
                <a:solidFill>
                  <a:schemeClr val="tx2">
                    <a:lumMod val="40000"/>
                    <a:lumOff val="6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3850925" y="4962794"/>
                <a:ext cx="1537694" cy="842470"/>
              </a:xfrm>
              <a:custGeom>
                <a:avLst/>
                <a:gdLst/>
                <a:ahLst/>
                <a:cxnLst>
                  <a:cxn ang="0">
                    <a:pos x="172" y="17"/>
                  </a:cxn>
                  <a:cxn ang="0">
                    <a:pos x="192" y="29"/>
                  </a:cxn>
                  <a:cxn ang="0">
                    <a:pos x="219" y="32"/>
                  </a:cxn>
                  <a:cxn ang="0">
                    <a:pos x="221" y="46"/>
                  </a:cxn>
                  <a:cxn ang="0">
                    <a:pos x="228" y="39"/>
                  </a:cxn>
                  <a:cxn ang="0">
                    <a:pos x="250" y="47"/>
                  </a:cxn>
                  <a:cxn ang="0">
                    <a:pos x="272" y="51"/>
                  </a:cxn>
                  <a:cxn ang="0">
                    <a:pos x="260" y="41"/>
                  </a:cxn>
                  <a:cxn ang="0">
                    <a:pos x="275" y="57"/>
                  </a:cxn>
                  <a:cxn ang="0">
                    <a:pos x="280" y="65"/>
                  </a:cxn>
                  <a:cxn ang="0">
                    <a:pos x="289" y="72"/>
                  </a:cxn>
                  <a:cxn ang="0">
                    <a:pos x="298" y="65"/>
                  </a:cxn>
                  <a:cxn ang="0">
                    <a:pos x="300" y="83"/>
                  </a:cxn>
                  <a:cxn ang="0">
                    <a:pos x="334" y="105"/>
                  </a:cxn>
                  <a:cxn ang="0">
                    <a:pos x="343" y="117"/>
                  </a:cxn>
                  <a:cxn ang="0">
                    <a:pos x="343" y="131"/>
                  </a:cxn>
                  <a:cxn ang="0">
                    <a:pos x="363" y="154"/>
                  </a:cxn>
                  <a:cxn ang="0">
                    <a:pos x="399" y="159"/>
                  </a:cxn>
                  <a:cxn ang="0">
                    <a:pos x="342" y="104"/>
                  </a:cxn>
                  <a:cxn ang="0">
                    <a:pos x="310" y="49"/>
                  </a:cxn>
                  <a:cxn ang="0">
                    <a:pos x="289" y="19"/>
                  </a:cxn>
                  <a:cxn ang="0">
                    <a:pos x="301" y="15"/>
                  </a:cxn>
                  <a:cxn ang="0">
                    <a:pos x="305" y="12"/>
                  </a:cxn>
                  <a:cxn ang="0">
                    <a:pos x="330" y="81"/>
                  </a:cxn>
                  <a:cxn ang="0">
                    <a:pos x="385" y="149"/>
                  </a:cxn>
                  <a:cxn ang="0">
                    <a:pos x="441" y="121"/>
                  </a:cxn>
                  <a:cxn ang="0">
                    <a:pos x="494" y="119"/>
                  </a:cxn>
                  <a:cxn ang="0">
                    <a:pos x="543" y="132"/>
                  </a:cxn>
                  <a:cxn ang="0">
                    <a:pos x="520" y="177"/>
                  </a:cxn>
                  <a:cxn ang="0">
                    <a:pos x="499" y="201"/>
                  </a:cxn>
                  <a:cxn ang="0">
                    <a:pos x="460" y="205"/>
                  </a:cxn>
                  <a:cxn ang="0">
                    <a:pos x="429" y="192"/>
                  </a:cxn>
                  <a:cxn ang="0">
                    <a:pos x="391" y="205"/>
                  </a:cxn>
                  <a:cxn ang="0">
                    <a:pos x="357" y="247"/>
                  </a:cxn>
                  <a:cxn ang="0">
                    <a:pos x="316" y="247"/>
                  </a:cxn>
                  <a:cxn ang="0">
                    <a:pos x="268" y="279"/>
                  </a:cxn>
                  <a:cxn ang="0">
                    <a:pos x="217" y="331"/>
                  </a:cxn>
                  <a:cxn ang="0">
                    <a:pos x="165" y="319"/>
                  </a:cxn>
                  <a:cxn ang="0">
                    <a:pos x="133" y="297"/>
                  </a:cxn>
                  <a:cxn ang="0">
                    <a:pos x="161" y="246"/>
                  </a:cxn>
                  <a:cxn ang="0">
                    <a:pos x="128" y="185"/>
                  </a:cxn>
                  <a:cxn ang="0">
                    <a:pos x="85" y="171"/>
                  </a:cxn>
                  <a:cxn ang="0">
                    <a:pos x="25" y="167"/>
                  </a:cxn>
                  <a:cxn ang="0">
                    <a:pos x="49" y="123"/>
                  </a:cxn>
                  <a:cxn ang="0">
                    <a:pos x="98" y="82"/>
                  </a:cxn>
                  <a:cxn ang="0">
                    <a:pos x="129" y="71"/>
                  </a:cxn>
                  <a:cxn ang="0">
                    <a:pos x="148" y="62"/>
                  </a:cxn>
                  <a:cxn ang="0">
                    <a:pos x="165" y="58"/>
                  </a:cxn>
                  <a:cxn ang="0">
                    <a:pos x="170" y="47"/>
                  </a:cxn>
                  <a:cxn ang="0">
                    <a:pos x="158" y="31"/>
                  </a:cxn>
                  <a:cxn ang="0">
                    <a:pos x="154" y="21"/>
                  </a:cxn>
                  <a:cxn ang="0">
                    <a:pos x="153" y="2"/>
                  </a:cxn>
                  <a:cxn ang="0">
                    <a:pos x="168" y="6"/>
                  </a:cxn>
                </a:cxnLst>
                <a:rect l="0" t="0" r="r" b="b"/>
                <a:pathLst>
                  <a:path w="543" h="337">
                    <a:moveTo>
                      <a:pt x="168" y="6"/>
                    </a:moveTo>
                    <a:cubicBezTo>
                      <a:pt x="168" y="13"/>
                      <a:pt x="172" y="17"/>
                      <a:pt x="172" y="17"/>
                    </a:cubicBezTo>
                    <a:cubicBezTo>
                      <a:pt x="177" y="10"/>
                      <a:pt x="185" y="22"/>
                      <a:pt x="185" y="22"/>
                    </a:cubicBezTo>
                    <a:cubicBezTo>
                      <a:pt x="185" y="35"/>
                      <a:pt x="192" y="29"/>
                      <a:pt x="192" y="29"/>
                    </a:cubicBezTo>
                    <a:cubicBezTo>
                      <a:pt x="192" y="18"/>
                      <a:pt x="200" y="21"/>
                      <a:pt x="200" y="21"/>
                    </a:cubicBezTo>
                    <a:cubicBezTo>
                      <a:pt x="213" y="17"/>
                      <a:pt x="219" y="32"/>
                      <a:pt x="219" y="32"/>
                    </a:cubicBezTo>
                    <a:cubicBezTo>
                      <a:pt x="219" y="32"/>
                      <a:pt x="219" y="32"/>
                      <a:pt x="219" y="32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1" y="46"/>
                      <a:pt x="221" y="46"/>
                      <a:pt x="221" y="46"/>
                    </a:cubicBezTo>
                    <a:cubicBezTo>
                      <a:pt x="224" y="36"/>
                      <a:pt x="228" y="39"/>
                      <a:pt x="228" y="39"/>
                    </a:cubicBezTo>
                    <a:cubicBezTo>
                      <a:pt x="228" y="33"/>
                      <a:pt x="237" y="35"/>
                      <a:pt x="237" y="35"/>
                    </a:cubicBezTo>
                    <a:cubicBezTo>
                      <a:pt x="246" y="33"/>
                      <a:pt x="250" y="47"/>
                      <a:pt x="250" y="47"/>
                    </a:cubicBezTo>
                    <a:cubicBezTo>
                      <a:pt x="249" y="60"/>
                      <a:pt x="261" y="61"/>
                      <a:pt x="261" y="61"/>
                    </a:cubicBezTo>
                    <a:cubicBezTo>
                      <a:pt x="267" y="61"/>
                      <a:pt x="272" y="51"/>
                      <a:pt x="272" y="51"/>
                    </a:cubicBezTo>
                    <a:cubicBezTo>
                      <a:pt x="272" y="45"/>
                      <a:pt x="264" y="44"/>
                      <a:pt x="264" y="44"/>
                    </a:cubicBezTo>
                    <a:cubicBezTo>
                      <a:pt x="262" y="43"/>
                      <a:pt x="261" y="43"/>
                      <a:pt x="260" y="41"/>
                    </a:cubicBezTo>
                    <a:cubicBezTo>
                      <a:pt x="266" y="31"/>
                      <a:pt x="279" y="41"/>
                      <a:pt x="279" y="41"/>
                    </a:cubicBezTo>
                    <a:cubicBezTo>
                      <a:pt x="280" y="54"/>
                      <a:pt x="275" y="57"/>
                      <a:pt x="275" y="57"/>
                    </a:cubicBezTo>
                    <a:cubicBezTo>
                      <a:pt x="266" y="68"/>
                      <a:pt x="268" y="76"/>
                      <a:pt x="268" y="76"/>
                    </a:cubicBezTo>
                    <a:cubicBezTo>
                      <a:pt x="275" y="78"/>
                      <a:pt x="280" y="65"/>
                      <a:pt x="280" y="65"/>
                    </a:cubicBezTo>
                    <a:cubicBezTo>
                      <a:pt x="286" y="53"/>
                      <a:pt x="294" y="51"/>
                      <a:pt x="294" y="51"/>
                    </a:cubicBezTo>
                    <a:cubicBezTo>
                      <a:pt x="290" y="63"/>
                      <a:pt x="289" y="72"/>
                      <a:pt x="289" y="72"/>
                    </a:cubicBezTo>
                    <a:cubicBezTo>
                      <a:pt x="289" y="72"/>
                      <a:pt x="289" y="72"/>
                      <a:pt x="289" y="72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298" y="65"/>
                      <a:pt x="298" y="65"/>
                      <a:pt x="298" y="65"/>
                    </a:cubicBezTo>
                    <a:cubicBezTo>
                      <a:pt x="302" y="70"/>
                      <a:pt x="300" y="83"/>
                      <a:pt x="300" y="83"/>
                    </a:cubicBezTo>
                    <a:cubicBezTo>
                      <a:pt x="315" y="83"/>
                      <a:pt x="319" y="92"/>
                      <a:pt x="319" y="92"/>
                    </a:cubicBezTo>
                    <a:cubicBezTo>
                      <a:pt x="330" y="93"/>
                      <a:pt x="334" y="105"/>
                      <a:pt x="334" y="105"/>
                    </a:cubicBezTo>
                    <a:cubicBezTo>
                      <a:pt x="343" y="110"/>
                      <a:pt x="343" y="117"/>
                      <a:pt x="343" y="117"/>
                    </a:cubicBezTo>
                    <a:cubicBezTo>
                      <a:pt x="343" y="117"/>
                      <a:pt x="343" y="117"/>
                      <a:pt x="343" y="117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43" y="131"/>
                      <a:pt x="343" y="131"/>
                      <a:pt x="343" y="131"/>
                    </a:cubicBezTo>
                    <a:cubicBezTo>
                      <a:pt x="338" y="141"/>
                      <a:pt x="346" y="147"/>
                      <a:pt x="346" y="147"/>
                    </a:cubicBezTo>
                    <a:cubicBezTo>
                      <a:pt x="356" y="148"/>
                      <a:pt x="363" y="154"/>
                      <a:pt x="363" y="154"/>
                    </a:cubicBezTo>
                    <a:cubicBezTo>
                      <a:pt x="378" y="157"/>
                      <a:pt x="390" y="166"/>
                      <a:pt x="390" y="166"/>
                    </a:cubicBezTo>
                    <a:cubicBezTo>
                      <a:pt x="392" y="161"/>
                      <a:pt x="399" y="159"/>
                      <a:pt x="399" y="159"/>
                    </a:cubicBezTo>
                    <a:cubicBezTo>
                      <a:pt x="385" y="160"/>
                      <a:pt x="374" y="144"/>
                      <a:pt x="374" y="144"/>
                    </a:cubicBezTo>
                    <a:cubicBezTo>
                      <a:pt x="360" y="127"/>
                      <a:pt x="342" y="104"/>
                      <a:pt x="342" y="104"/>
                    </a:cubicBezTo>
                    <a:cubicBezTo>
                      <a:pt x="327" y="84"/>
                      <a:pt x="319" y="65"/>
                      <a:pt x="319" y="65"/>
                    </a:cubicBezTo>
                    <a:cubicBezTo>
                      <a:pt x="305" y="75"/>
                      <a:pt x="310" y="49"/>
                      <a:pt x="310" y="49"/>
                    </a:cubicBezTo>
                    <a:cubicBezTo>
                      <a:pt x="302" y="46"/>
                      <a:pt x="307" y="32"/>
                      <a:pt x="307" y="32"/>
                    </a:cubicBezTo>
                    <a:cubicBezTo>
                      <a:pt x="295" y="32"/>
                      <a:pt x="289" y="19"/>
                      <a:pt x="289" y="19"/>
                    </a:cubicBezTo>
                    <a:cubicBezTo>
                      <a:pt x="287" y="13"/>
                      <a:pt x="301" y="15"/>
                      <a:pt x="301" y="15"/>
                    </a:cubicBezTo>
                    <a:cubicBezTo>
                      <a:pt x="301" y="15"/>
                      <a:pt x="301" y="15"/>
                      <a:pt x="301" y="15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12"/>
                      <a:pt x="305" y="12"/>
                      <a:pt x="305" y="12"/>
                    </a:cubicBezTo>
                    <a:cubicBezTo>
                      <a:pt x="305" y="26"/>
                      <a:pt x="312" y="35"/>
                      <a:pt x="312" y="35"/>
                    </a:cubicBezTo>
                    <a:cubicBezTo>
                      <a:pt x="313" y="50"/>
                      <a:pt x="330" y="81"/>
                      <a:pt x="330" y="81"/>
                    </a:cubicBezTo>
                    <a:cubicBezTo>
                      <a:pt x="335" y="87"/>
                      <a:pt x="355" y="115"/>
                      <a:pt x="355" y="115"/>
                    </a:cubicBezTo>
                    <a:cubicBezTo>
                      <a:pt x="369" y="134"/>
                      <a:pt x="385" y="149"/>
                      <a:pt x="385" y="149"/>
                    </a:cubicBezTo>
                    <a:cubicBezTo>
                      <a:pt x="393" y="161"/>
                      <a:pt x="423" y="147"/>
                      <a:pt x="423" y="147"/>
                    </a:cubicBezTo>
                    <a:cubicBezTo>
                      <a:pt x="430" y="144"/>
                      <a:pt x="441" y="121"/>
                      <a:pt x="441" y="121"/>
                    </a:cubicBezTo>
                    <a:cubicBezTo>
                      <a:pt x="455" y="146"/>
                      <a:pt x="470" y="132"/>
                      <a:pt x="470" y="132"/>
                    </a:cubicBezTo>
                    <a:cubicBezTo>
                      <a:pt x="474" y="116"/>
                      <a:pt x="494" y="119"/>
                      <a:pt x="494" y="119"/>
                    </a:cubicBezTo>
                    <a:cubicBezTo>
                      <a:pt x="512" y="115"/>
                      <a:pt x="527" y="120"/>
                      <a:pt x="527" y="120"/>
                    </a:cubicBezTo>
                    <a:cubicBezTo>
                      <a:pt x="541" y="122"/>
                      <a:pt x="543" y="132"/>
                      <a:pt x="543" y="132"/>
                    </a:cubicBezTo>
                    <a:cubicBezTo>
                      <a:pt x="540" y="144"/>
                      <a:pt x="521" y="153"/>
                      <a:pt x="521" y="153"/>
                    </a:cubicBezTo>
                    <a:cubicBezTo>
                      <a:pt x="517" y="159"/>
                      <a:pt x="520" y="177"/>
                      <a:pt x="520" y="177"/>
                    </a:cubicBezTo>
                    <a:cubicBezTo>
                      <a:pt x="536" y="190"/>
                      <a:pt x="513" y="193"/>
                      <a:pt x="513" y="193"/>
                    </a:cubicBezTo>
                    <a:cubicBezTo>
                      <a:pt x="501" y="191"/>
                      <a:pt x="499" y="201"/>
                      <a:pt x="499" y="201"/>
                    </a:cubicBezTo>
                    <a:cubicBezTo>
                      <a:pt x="492" y="204"/>
                      <a:pt x="472" y="197"/>
                      <a:pt x="472" y="197"/>
                    </a:cubicBezTo>
                    <a:cubicBezTo>
                      <a:pt x="469" y="207"/>
                      <a:pt x="460" y="205"/>
                      <a:pt x="460" y="205"/>
                    </a:cubicBezTo>
                    <a:cubicBezTo>
                      <a:pt x="451" y="215"/>
                      <a:pt x="441" y="200"/>
                      <a:pt x="441" y="200"/>
                    </a:cubicBezTo>
                    <a:cubicBezTo>
                      <a:pt x="438" y="193"/>
                      <a:pt x="429" y="192"/>
                      <a:pt x="429" y="192"/>
                    </a:cubicBezTo>
                    <a:cubicBezTo>
                      <a:pt x="420" y="179"/>
                      <a:pt x="399" y="189"/>
                      <a:pt x="399" y="189"/>
                    </a:cubicBezTo>
                    <a:cubicBezTo>
                      <a:pt x="391" y="199"/>
                      <a:pt x="391" y="205"/>
                      <a:pt x="391" y="205"/>
                    </a:cubicBezTo>
                    <a:cubicBezTo>
                      <a:pt x="385" y="216"/>
                      <a:pt x="373" y="222"/>
                      <a:pt x="373" y="222"/>
                    </a:cubicBezTo>
                    <a:cubicBezTo>
                      <a:pt x="356" y="226"/>
                      <a:pt x="357" y="247"/>
                      <a:pt x="357" y="247"/>
                    </a:cubicBezTo>
                    <a:cubicBezTo>
                      <a:pt x="351" y="257"/>
                      <a:pt x="338" y="240"/>
                      <a:pt x="338" y="240"/>
                    </a:cubicBezTo>
                    <a:cubicBezTo>
                      <a:pt x="327" y="250"/>
                      <a:pt x="316" y="247"/>
                      <a:pt x="316" y="247"/>
                    </a:cubicBezTo>
                    <a:cubicBezTo>
                      <a:pt x="302" y="247"/>
                      <a:pt x="296" y="259"/>
                      <a:pt x="296" y="259"/>
                    </a:cubicBezTo>
                    <a:cubicBezTo>
                      <a:pt x="286" y="255"/>
                      <a:pt x="268" y="279"/>
                      <a:pt x="268" y="279"/>
                    </a:cubicBezTo>
                    <a:cubicBezTo>
                      <a:pt x="258" y="285"/>
                      <a:pt x="267" y="303"/>
                      <a:pt x="249" y="302"/>
                    </a:cubicBezTo>
                    <a:cubicBezTo>
                      <a:pt x="240" y="315"/>
                      <a:pt x="229" y="327"/>
                      <a:pt x="217" y="331"/>
                    </a:cubicBezTo>
                    <a:cubicBezTo>
                      <a:pt x="195" y="337"/>
                      <a:pt x="176" y="331"/>
                      <a:pt x="176" y="331"/>
                    </a:cubicBezTo>
                    <a:cubicBezTo>
                      <a:pt x="171" y="324"/>
                      <a:pt x="165" y="319"/>
                      <a:pt x="165" y="319"/>
                    </a:cubicBezTo>
                    <a:cubicBezTo>
                      <a:pt x="163" y="310"/>
                      <a:pt x="148" y="314"/>
                      <a:pt x="148" y="314"/>
                    </a:cubicBezTo>
                    <a:cubicBezTo>
                      <a:pt x="138" y="311"/>
                      <a:pt x="133" y="297"/>
                      <a:pt x="133" y="297"/>
                    </a:cubicBezTo>
                    <a:cubicBezTo>
                      <a:pt x="134" y="291"/>
                      <a:pt x="143" y="296"/>
                      <a:pt x="154" y="285"/>
                    </a:cubicBezTo>
                    <a:cubicBezTo>
                      <a:pt x="154" y="274"/>
                      <a:pt x="140" y="267"/>
                      <a:pt x="161" y="246"/>
                    </a:cubicBezTo>
                    <a:cubicBezTo>
                      <a:pt x="165" y="226"/>
                      <a:pt x="153" y="205"/>
                      <a:pt x="153" y="205"/>
                    </a:cubicBezTo>
                    <a:cubicBezTo>
                      <a:pt x="144" y="190"/>
                      <a:pt x="128" y="185"/>
                      <a:pt x="128" y="185"/>
                    </a:cubicBezTo>
                    <a:cubicBezTo>
                      <a:pt x="110" y="202"/>
                      <a:pt x="103" y="189"/>
                      <a:pt x="103" y="189"/>
                    </a:cubicBezTo>
                    <a:cubicBezTo>
                      <a:pt x="101" y="183"/>
                      <a:pt x="85" y="171"/>
                      <a:pt x="85" y="171"/>
                    </a:cubicBezTo>
                    <a:cubicBezTo>
                      <a:pt x="63" y="154"/>
                      <a:pt x="52" y="160"/>
                      <a:pt x="52" y="160"/>
                    </a:cubicBezTo>
                    <a:cubicBezTo>
                      <a:pt x="44" y="158"/>
                      <a:pt x="36" y="173"/>
                      <a:pt x="25" y="167"/>
                    </a:cubicBezTo>
                    <a:cubicBezTo>
                      <a:pt x="0" y="153"/>
                      <a:pt x="25" y="138"/>
                      <a:pt x="25" y="138"/>
                    </a:cubicBezTo>
                    <a:cubicBezTo>
                      <a:pt x="27" y="131"/>
                      <a:pt x="49" y="123"/>
                      <a:pt x="49" y="123"/>
                    </a:cubicBezTo>
                    <a:cubicBezTo>
                      <a:pt x="55" y="110"/>
                      <a:pt x="76" y="101"/>
                      <a:pt x="76" y="101"/>
                    </a:cubicBezTo>
                    <a:cubicBezTo>
                      <a:pt x="84" y="89"/>
                      <a:pt x="98" y="82"/>
                      <a:pt x="98" y="82"/>
                    </a:cubicBezTo>
                    <a:cubicBezTo>
                      <a:pt x="118" y="83"/>
                      <a:pt x="129" y="71"/>
                      <a:pt x="129" y="71"/>
                    </a:cubicBezTo>
                    <a:cubicBezTo>
                      <a:pt x="129" y="71"/>
                      <a:pt x="129" y="71"/>
                      <a:pt x="129" y="71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48" y="62"/>
                      <a:pt x="148" y="62"/>
                      <a:pt x="148" y="62"/>
                    </a:cubicBezTo>
                    <a:cubicBezTo>
                      <a:pt x="169" y="68"/>
                      <a:pt x="165" y="58"/>
                      <a:pt x="165" y="58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48" y="61"/>
                      <a:pt x="158" y="31"/>
                      <a:pt x="158" y="31"/>
                    </a:cubicBezTo>
                    <a:cubicBezTo>
                      <a:pt x="158" y="31"/>
                      <a:pt x="158" y="31"/>
                      <a:pt x="158" y="3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21"/>
                      <a:pt x="154" y="21"/>
                      <a:pt x="154" y="21"/>
                    </a:cubicBezTo>
                    <a:cubicBezTo>
                      <a:pt x="154" y="17"/>
                      <a:pt x="151" y="15"/>
                      <a:pt x="151" y="14"/>
                    </a:cubicBezTo>
                    <a:cubicBezTo>
                      <a:pt x="155" y="10"/>
                      <a:pt x="153" y="2"/>
                      <a:pt x="153" y="2"/>
                    </a:cubicBezTo>
                    <a:cubicBezTo>
                      <a:pt x="161" y="0"/>
                      <a:pt x="168" y="6"/>
                      <a:pt x="168" y="6"/>
                    </a:cubicBezTo>
                    <a:cubicBezTo>
                      <a:pt x="168" y="6"/>
                      <a:pt x="168" y="6"/>
                      <a:pt x="168" y="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4578">
                  <a:defRPr/>
                </a:pPr>
                <a:endParaRPr lang="uk-UA" sz="825" dirty="0">
                  <a:solidFill>
                    <a:prstClr val="white">
                      <a:lumMod val="65000"/>
                    </a:prstClr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18" name="Line 33"/>
              <p:cNvSpPr>
                <a:spLocks noChangeShapeType="1"/>
              </p:cNvSpPr>
              <p:nvPr/>
            </p:nvSpPr>
            <p:spPr bwMode="auto">
              <a:xfrm flipV="1">
                <a:off x="3199054" y="2689185"/>
                <a:ext cx="1329" cy="27107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1" name="Freeform 32"/>
              <p:cNvSpPr>
                <a:spLocks/>
              </p:cNvSpPr>
              <p:nvPr/>
            </p:nvSpPr>
            <p:spPr bwMode="auto">
              <a:xfrm>
                <a:off x="3842761" y="4702541"/>
                <a:ext cx="325229" cy="119394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8" y="37"/>
                  </a:cxn>
                  <a:cxn ang="0">
                    <a:pos x="44" y="24"/>
                  </a:cxn>
                  <a:cxn ang="0">
                    <a:pos x="62" y="16"/>
                  </a:cxn>
                  <a:cxn ang="0">
                    <a:pos x="84" y="8"/>
                  </a:cxn>
                  <a:cxn ang="0">
                    <a:pos x="115" y="5"/>
                  </a:cxn>
                </a:cxnLst>
                <a:rect l="0" t="0" r="r" b="b"/>
                <a:pathLst>
                  <a:path w="115" h="48">
                    <a:moveTo>
                      <a:pt x="0" y="48"/>
                    </a:moveTo>
                    <a:cubicBezTo>
                      <a:pt x="8" y="39"/>
                      <a:pt x="18" y="37"/>
                      <a:pt x="18" y="37"/>
                    </a:cubicBezTo>
                    <a:cubicBezTo>
                      <a:pt x="31" y="24"/>
                      <a:pt x="44" y="24"/>
                      <a:pt x="44" y="24"/>
                    </a:cubicBezTo>
                    <a:cubicBezTo>
                      <a:pt x="51" y="26"/>
                      <a:pt x="62" y="16"/>
                      <a:pt x="62" y="16"/>
                    </a:cubicBezTo>
                    <a:cubicBezTo>
                      <a:pt x="69" y="5"/>
                      <a:pt x="84" y="8"/>
                      <a:pt x="84" y="8"/>
                    </a:cubicBezTo>
                    <a:cubicBezTo>
                      <a:pt x="98" y="0"/>
                      <a:pt x="100" y="14"/>
                      <a:pt x="115" y="5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0" name="Freeform 31"/>
              <p:cNvSpPr>
                <a:spLocks/>
              </p:cNvSpPr>
              <p:nvPr/>
            </p:nvSpPr>
            <p:spPr bwMode="auto">
              <a:xfrm>
                <a:off x="4727431" y="3911339"/>
                <a:ext cx="59806" cy="299351"/>
              </a:xfrm>
              <a:custGeom>
                <a:avLst/>
                <a:gdLst>
                  <a:gd name="T0" fmla="*/ 2147483647 w 21"/>
                  <a:gd name="T1" fmla="*/ 2147483647 h 120"/>
                  <a:gd name="T2" fmla="*/ 2147483647 w 21"/>
                  <a:gd name="T3" fmla="*/ 2147483647 h 120"/>
                  <a:gd name="T4" fmla="*/ 2147483647 w 21"/>
                  <a:gd name="T5" fmla="*/ 2147483647 h 120"/>
                  <a:gd name="T6" fmla="*/ 2147483647 w 21"/>
                  <a:gd name="T7" fmla="*/ 2147483647 h 120"/>
                  <a:gd name="T8" fmla="*/ 2147483647 w 21"/>
                  <a:gd name="T9" fmla="*/ 2147483647 h 120"/>
                  <a:gd name="T10" fmla="*/ 2147483647 w 21"/>
                  <a:gd name="T11" fmla="*/ 2147483647 h 120"/>
                  <a:gd name="T12" fmla="*/ 2147483647 w 21"/>
                  <a:gd name="T13" fmla="*/ 2147483647 h 120"/>
                  <a:gd name="T14" fmla="*/ 2147483647 w 21"/>
                  <a:gd name="T15" fmla="*/ 0 h 1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120"/>
                  <a:gd name="T26" fmla="*/ 21 w 21"/>
                  <a:gd name="T27" fmla="*/ 120 h 1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120">
                    <a:moveTo>
                      <a:pt x="13" y="120"/>
                    </a:moveTo>
                    <a:cubicBezTo>
                      <a:pt x="8" y="118"/>
                      <a:pt x="13" y="105"/>
                      <a:pt x="13" y="105"/>
                    </a:cubicBezTo>
                    <a:cubicBezTo>
                      <a:pt x="21" y="85"/>
                      <a:pt x="6" y="79"/>
                      <a:pt x="6" y="79"/>
                    </a:cubicBezTo>
                    <a:cubicBezTo>
                      <a:pt x="1" y="71"/>
                      <a:pt x="7" y="65"/>
                      <a:pt x="12" y="67"/>
                    </a:cubicBezTo>
                    <a:cubicBezTo>
                      <a:pt x="20" y="72"/>
                      <a:pt x="20" y="52"/>
                      <a:pt x="20" y="52"/>
                    </a:cubicBezTo>
                    <a:cubicBezTo>
                      <a:pt x="19" y="40"/>
                      <a:pt x="12" y="32"/>
                      <a:pt x="12" y="32"/>
                    </a:cubicBezTo>
                    <a:cubicBezTo>
                      <a:pt x="12" y="23"/>
                      <a:pt x="6" y="15"/>
                      <a:pt x="6" y="15"/>
                    </a:cubicBezTo>
                    <a:cubicBezTo>
                      <a:pt x="0" y="4"/>
                      <a:pt x="10" y="0"/>
                      <a:pt x="10" y="0"/>
                    </a:cubicBezTo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1" name="Freeform 30"/>
              <p:cNvSpPr>
                <a:spLocks/>
              </p:cNvSpPr>
              <p:nvPr/>
            </p:nvSpPr>
            <p:spPr bwMode="auto">
              <a:xfrm>
                <a:off x="4618451" y="3916053"/>
                <a:ext cx="116954" cy="14143"/>
              </a:xfrm>
              <a:custGeom>
                <a:avLst/>
                <a:gdLst>
                  <a:gd name="T0" fmla="*/ 0 w 42"/>
                  <a:gd name="T1" fmla="*/ 0 h 6"/>
                  <a:gd name="T2" fmla="*/ 2147483647 w 42"/>
                  <a:gd name="T3" fmla="*/ 0 h 6"/>
                  <a:gd name="T4" fmla="*/ 2147483647 w 42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2"/>
                  <a:gd name="T10" fmla="*/ 0 h 6"/>
                  <a:gd name="T11" fmla="*/ 42 w 42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2" h="6">
                    <a:moveTo>
                      <a:pt x="0" y="0"/>
                    </a:moveTo>
                    <a:cubicBezTo>
                      <a:pt x="12" y="4"/>
                      <a:pt x="21" y="0"/>
                      <a:pt x="21" y="0"/>
                    </a:cubicBezTo>
                    <a:cubicBezTo>
                      <a:pt x="34" y="1"/>
                      <a:pt x="42" y="6"/>
                      <a:pt x="42" y="6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2" name="Freeform 29"/>
              <p:cNvSpPr>
                <a:spLocks/>
              </p:cNvSpPr>
              <p:nvPr/>
            </p:nvSpPr>
            <p:spPr bwMode="auto">
              <a:xfrm>
                <a:off x="4133357" y="3676808"/>
                <a:ext cx="42529" cy="14143"/>
              </a:xfrm>
              <a:custGeom>
                <a:avLst/>
                <a:gdLst>
                  <a:gd name="T0" fmla="*/ 2147483647 w 15"/>
                  <a:gd name="T1" fmla="*/ 2147483647 h 6"/>
                  <a:gd name="T2" fmla="*/ 0 w 15"/>
                  <a:gd name="T3" fmla="*/ 0 h 6"/>
                  <a:gd name="T4" fmla="*/ 0 60000 65536"/>
                  <a:gd name="T5" fmla="*/ 0 60000 65536"/>
                  <a:gd name="T6" fmla="*/ 0 w 15"/>
                  <a:gd name="T7" fmla="*/ 0 h 6"/>
                  <a:gd name="T8" fmla="*/ 15 w 15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5" h="6">
                    <a:moveTo>
                      <a:pt x="15" y="6"/>
                    </a:moveTo>
                    <a:cubicBezTo>
                      <a:pt x="14" y="0"/>
                      <a:pt x="0" y="0"/>
                      <a:pt x="0" y="0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3" name="Line 28"/>
              <p:cNvSpPr>
                <a:spLocks noChangeShapeType="1"/>
              </p:cNvSpPr>
              <p:nvPr/>
            </p:nvSpPr>
            <p:spPr bwMode="auto">
              <a:xfrm flipH="1" flipV="1">
                <a:off x="3612380" y="3452884"/>
                <a:ext cx="25251" cy="12964"/>
              </a:xfrm>
              <a:prstGeom prst="line">
                <a:avLst/>
              </a:prstGeom>
              <a:noFill/>
              <a:ln w="0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4" name="Freeform 27"/>
              <p:cNvSpPr>
                <a:spLocks/>
              </p:cNvSpPr>
              <p:nvPr/>
            </p:nvSpPr>
            <p:spPr bwMode="auto">
              <a:xfrm>
                <a:off x="3496755" y="3366850"/>
                <a:ext cx="65122" cy="54213"/>
              </a:xfrm>
              <a:custGeom>
                <a:avLst/>
                <a:gdLst>
                  <a:gd name="T0" fmla="*/ 2147483647 w 23"/>
                  <a:gd name="T1" fmla="*/ 2147483647 h 22"/>
                  <a:gd name="T2" fmla="*/ 2147483647 w 23"/>
                  <a:gd name="T3" fmla="*/ 2147483647 h 22"/>
                  <a:gd name="T4" fmla="*/ 2147483647 w 23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22"/>
                  <a:gd name="T11" fmla="*/ 23 w 2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22">
                    <a:moveTo>
                      <a:pt x="23" y="22"/>
                    </a:moveTo>
                    <a:cubicBezTo>
                      <a:pt x="16" y="22"/>
                      <a:pt x="22" y="14"/>
                      <a:pt x="15" y="13"/>
                    </a:cubicBezTo>
                    <a:cubicBezTo>
                      <a:pt x="0" y="6"/>
                      <a:pt x="2" y="0"/>
                      <a:pt x="2" y="0"/>
                    </a:cubicBezTo>
                  </a:path>
                </a:pathLst>
              </a:custGeom>
              <a:solidFill>
                <a:srgbClr val="99CCFF"/>
              </a:solidFill>
              <a:ln w="8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25" name="Freeform 26"/>
              <p:cNvSpPr>
                <a:spLocks/>
              </p:cNvSpPr>
              <p:nvPr/>
            </p:nvSpPr>
            <p:spPr bwMode="auto">
              <a:xfrm>
                <a:off x="3474161" y="3248995"/>
                <a:ext cx="38542" cy="20035"/>
              </a:xfrm>
              <a:custGeom>
                <a:avLst/>
                <a:gdLst>
                  <a:gd name="T0" fmla="*/ 2147483647 w 14"/>
                  <a:gd name="T1" fmla="*/ 2147483647 h 8"/>
                  <a:gd name="T2" fmla="*/ 0 w 14"/>
                  <a:gd name="T3" fmla="*/ 2147483647 h 8"/>
                  <a:gd name="T4" fmla="*/ 0 60000 65536"/>
                  <a:gd name="T5" fmla="*/ 0 60000 65536"/>
                  <a:gd name="T6" fmla="*/ 0 w 14"/>
                  <a:gd name="T7" fmla="*/ 0 h 8"/>
                  <a:gd name="T8" fmla="*/ 14 w 14"/>
                  <a:gd name="T9" fmla="*/ 8 h 8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" h="8">
                    <a:moveTo>
                      <a:pt x="13" y="8"/>
                    </a:moveTo>
                    <a:cubicBezTo>
                      <a:pt x="14" y="0"/>
                      <a:pt x="0" y="4"/>
                      <a:pt x="0" y="4"/>
                    </a:cubicBezTo>
                  </a:path>
                </a:pathLst>
              </a:custGeom>
              <a:solidFill>
                <a:srgbClr val="99CC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38" name="Freeform 25"/>
              <p:cNvSpPr>
                <a:spLocks/>
              </p:cNvSpPr>
              <p:nvPr/>
            </p:nvSpPr>
            <p:spPr bwMode="auto">
              <a:xfrm>
                <a:off x="3192303" y="2988087"/>
                <a:ext cx="57153" cy="160982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8" y="42"/>
                  </a:cxn>
                  <a:cxn ang="0">
                    <a:pos x="1" y="21"/>
                  </a:cxn>
                  <a:cxn ang="0">
                    <a:pos x="0" y="0"/>
                  </a:cxn>
                </a:cxnLst>
                <a:rect l="0" t="0" r="r" b="b"/>
                <a:pathLst>
                  <a:path w="20" h="64">
                    <a:moveTo>
                      <a:pt x="20" y="64"/>
                    </a:moveTo>
                    <a:cubicBezTo>
                      <a:pt x="10" y="54"/>
                      <a:pt x="8" y="42"/>
                      <a:pt x="8" y="42"/>
                    </a:cubicBezTo>
                    <a:cubicBezTo>
                      <a:pt x="0" y="30"/>
                      <a:pt x="1" y="21"/>
                      <a:pt x="1" y="21"/>
                    </a:cubicBezTo>
                    <a:cubicBezTo>
                      <a:pt x="3" y="9"/>
                      <a:pt x="0" y="0"/>
                      <a:pt x="0" y="0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7" name="Freeform 24"/>
              <p:cNvSpPr>
                <a:spLocks/>
              </p:cNvSpPr>
              <p:nvPr/>
            </p:nvSpPr>
            <p:spPr bwMode="auto">
              <a:xfrm>
                <a:off x="4141331" y="4205975"/>
                <a:ext cx="711028" cy="517382"/>
              </a:xfrm>
              <a:custGeom>
                <a:avLst/>
                <a:gdLst>
                  <a:gd name="T0" fmla="*/ 0 w 251"/>
                  <a:gd name="T1" fmla="*/ 2147483647 h 207"/>
                  <a:gd name="T2" fmla="*/ 2147483647 w 251"/>
                  <a:gd name="T3" fmla="*/ 2147483647 h 207"/>
                  <a:gd name="T4" fmla="*/ 2147483647 w 251"/>
                  <a:gd name="T5" fmla="*/ 2147483647 h 207"/>
                  <a:gd name="T6" fmla="*/ 2147483647 w 251"/>
                  <a:gd name="T7" fmla="*/ 2147483647 h 207"/>
                  <a:gd name="T8" fmla="*/ 2147483647 w 251"/>
                  <a:gd name="T9" fmla="*/ 2147483647 h 207"/>
                  <a:gd name="T10" fmla="*/ 2147483647 w 251"/>
                  <a:gd name="T11" fmla="*/ 2147483647 h 207"/>
                  <a:gd name="T12" fmla="*/ 2147483647 w 251"/>
                  <a:gd name="T13" fmla="*/ 2147483647 h 207"/>
                  <a:gd name="T14" fmla="*/ 2147483647 w 251"/>
                  <a:gd name="T15" fmla="*/ 2147483647 h 207"/>
                  <a:gd name="T16" fmla="*/ 2147483647 w 251"/>
                  <a:gd name="T17" fmla="*/ 2147483647 h 207"/>
                  <a:gd name="T18" fmla="*/ 2147483647 w 251"/>
                  <a:gd name="T19" fmla="*/ 2147483647 h 207"/>
                  <a:gd name="T20" fmla="*/ 2147483647 w 251"/>
                  <a:gd name="T21" fmla="*/ 2147483647 h 207"/>
                  <a:gd name="T22" fmla="*/ 2147483647 w 251"/>
                  <a:gd name="T23" fmla="*/ 2147483647 h 207"/>
                  <a:gd name="T24" fmla="*/ 2147483647 w 251"/>
                  <a:gd name="T25" fmla="*/ 2147483647 h 207"/>
                  <a:gd name="T26" fmla="*/ 2147483647 w 251"/>
                  <a:gd name="T27" fmla="*/ 2147483647 h 207"/>
                  <a:gd name="T28" fmla="*/ 2147483647 w 251"/>
                  <a:gd name="T29" fmla="*/ 2147483647 h 207"/>
                  <a:gd name="T30" fmla="*/ 2147483647 w 251"/>
                  <a:gd name="T31" fmla="*/ 2147483647 h 207"/>
                  <a:gd name="T32" fmla="*/ 2147483647 w 251"/>
                  <a:gd name="T33" fmla="*/ 2147483647 h 207"/>
                  <a:gd name="T34" fmla="*/ 2147483647 w 251"/>
                  <a:gd name="T35" fmla="*/ 2147483647 h 207"/>
                  <a:gd name="T36" fmla="*/ 2147483647 w 251"/>
                  <a:gd name="T37" fmla="*/ 2147483647 h 207"/>
                  <a:gd name="T38" fmla="*/ 2147483647 w 251"/>
                  <a:gd name="T39" fmla="*/ 2147483647 h 207"/>
                  <a:gd name="T40" fmla="*/ 2147483647 w 251"/>
                  <a:gd name="T41" fmla="*/ 2147483647 h 207"/>
                  <a:gd name="T42" fmla="*/ 2147483647 w 251"/>
                  <a:gd name="T43" fmla="*/ 2147483647 h 207"/>
                  <a:gd name="T44" fmla="*/ 2147483647 w 251"/>
                  <a:gd name="T45" fmla="*/ 2147483647 h 207"/>
                  <a:gd name="T46" fmla="*/ 2147483647 w 251"/>
                  <a:gd name="T47" fmla="*/ 2147483647 h 207"/>
                  <a:gd name="T48" fmla="*/ 2147483647 w 251"/>
                  <a:gd name="T49" fmla="*/ 2147483647 h 207"/>
                  <a:gd name="T50" fmla="*/ 2147483647 w 251"/>
                  <a:gd name="T51" fmla="*/ 2147483647 h 207"/>
                  <a:gd name="T52" fmla="*/ 2147483647 w 251"/>
                  <a:gd name="T53" fmla="*/ 2147483647 h 207"/>
                  <a:gd name="T54" fmla="*/ 2147483647 w 251"/>
                  <a:gd name="T55" fmla="*/ 2147483647 h 207"/>
                  <a:gd name="T56" fmla="*/ 2147483647 w 251"/>
                  <a:gd name="T57" fmla="*/ 2147483647 h 207"/>
                  <a:gd name="T58" fmla="*/ 2147483647 w 251"/>
                  <a:gd name="T59" fmla="*/ 2147483647 h 207"/>
                  <a:gd name="T60" fmla="*/ 2147483647 w 251"/>
                  <a:gd name="T61" fmla="*/ 2147483647 h 207"/>
                  <a:gd name="T62" fmla="*/ 2147483647 w 251"/>
                  <a:gd name="T63" fmla="*/ 2147483647 h 207"/>
                  <a:gd name="T64" fmla="*/ 2147483647 w 251"/>
                  <a:gd name="T65" fmla="*/ 2147483647 h 207"/>
                  <a:gd name="T66" fmla="*/ 2147483647 w 251"/>
                  <a:gd name="T67" fmla="*/ 2147483647 h 207"/>
                  <a:gd name="T68" fmla="*/ 2147483647 w 251"/>
                  <a:gd name="T69" fmla="*/ 2147483647 h 207"/>
                  <a:gd name="T70" fmla="*/ 2147483647 w 251"/>
                  <a:gd name="T71" fmla="*/ 2147483647 h 207"/>
                  <a:gd name="T72" fmla="*/ 0 w 251"/>
                  <a:gd name="T73" fmla="*/ 2147483647 h 207"/>
                  <a:gd name="T74" fmla="*/ 0 w 251"/>
                  <a:gd name="T75" fmla="*/ 2147483647 h 2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1"/>
                  <a:gd name="T115" fmla="*/ 0 h 207"/>
                  <a:gd name="T116" fmla="*/ 251 w 251"/>
                  <a:gd name="T117" fmla="*/ 207 h 20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1" h="207">
                    <a:moveTo>
                      <a:pt x="0" y="207"/>
                    </a:moveTo>
                    <a:cubicBezTo>
                      <a:pt x="18" y="206"/>
                      <a:pt x="25" y="196"/>
                      <a:pt x="25" y="196"/>
                    </a:cubicBezTo>
                    <a:cubicBezTo>
                      <a:pt x="52" y="196"/>
                      <a:pt x="51" y="181"/>
                      <a:pt x="51" y="181"/>
                    </a:cubicBezTo>
                    <a:cubicBezTo>
                      <a:pt x="51" y="181"/>
                      <a:pt x="56" y="176"/>
                      <a:pt x="55" y="162"/>
                    </a:cubicBezTo>
                    <a:cubicBezTo>
                      <a:pt x="73" y="151"/>
                      <a:pt x="71" y="141"/>
                      <a:pt x="71" y="141"/>
                    </a:cubicBezTo>
                    <a:cubicBezTo>
                      <a:pt x="88" y="122"/>
                      <a:pt x="89" y="106"/>
                      <a:pt x="89" y="106"/>
                    </a:cubicBezTo>
                    <a:cubicBezTo>
                      <a:pt x="95" y="97"/>
                      <a:pt x="107" y="97"/>
                      <a:pt x="107" y="97"/>
                    </a:cubicBezTo>
                    <a:cubicBezTo>
                      <a:pt x="108" y="90"/>
                      <a:pt x="93" y="97"/>
                      <a:pt x="93" y="87"/>
                    </a:cubicBezTo>
                    <a:cubicBezTo>
                      <a:pt x="93" y="83"/>
                      <a:pt x="103" y="82"/>
                      <a:pt x="111" y="82"/>
                    </a:cubicBezTo>
                    <a:cubicBezTo>
                      <a:pt x="133" y="81"/>
                      <a:pt x="134" y="68"/>
                      <a:pt x="134" y="68"/>
                    </a:cubicBezTo>
                    <a:cubicBezTo>
                      <a:pt x="150" y="69"/>
                      <a:pt x="153" y="62"/>
                      <a:pt x="153" y="62"/>
                    </a:cubicBezTo>
                    <a:cubicBezTo>
                      <a:pt x="153" y="62"/>
                      <a:pt x="153" y="62"/>
                      <a:pt x="153" y="62"/>
                    </a:cubicBezTo>
                    <a:cubicBezTo>
                      <a:pt x="176" y="63"/>
                      <a:pt x="176" y="63"/>
                      <a:pt x="176" y="63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193" y="74"/>
                      <a:pt x="193" y="74"/>
                      <a:pt x="193" y="74"/>
                    </a:cubicBezTo>
                    <a:cubicBezTo>
                      <a:pt x="205" y="88"/>
                      <a:pt x="215" y="78"/>
                      <a:pt x="215" y="78"/>
                    </a:cubicBezTo>
                    <a:cubicBezTo>
                      <a:pt x="220" y="72"/>
                      <a:pt x="235" y="71"/>
                      <a:pt x="235" y="71"/>
                    </a:cubicBezTo>
                    <a:cubicBezTo>
                      <a:pt x="251" y="73"/>
                      <a:pt x="248" y="54"/>
                      <a:pt x="248" y="54"/>
                    </a:cubicBezTo>
                    <a:cubicBezTo>
                      <a:pt x="248" y="37"/>
                      <a:pt x="236" y="27"/>
                      <a:pt x="236" y="27"/>
                    </a:cubicBezTo>
                    <a:cubicBezTo>
                      <a:pt x="227" y="0"/>
                      <a:pt x="219" y="1"/>
                      <a:pt x="219" y="1"/>
                    </a:cubicBezTo>
                    <a:cubicBezTo>
                      <a:pt x="231" y="29"/>
                      <a:pt x="220" y="34"/>
                      <a:pt x="220" y="34"/>
                    </a:cubicBezTo>
                    <a:cubicBezTo>
                      <a:pt x="212" y="59"/>
                      <a:pt x="195" y="53"/>
                      <a:pt x="195" y="53"/>
                    </a:cubicBezTo>
                    <a:cubicBezTo>
                      <a:pt x="195" y="53"/>
                      <a:pt x="195" y="53"/>
                      <a:pt x="195" y="53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72" y="50"/>
                      <a:pt x="172" y="50"/>
                      <a:pt x="172" y="50"/>
                    </a:cubicBezTo>
                    <a:cubicBezTo>
                      <a:pt x="158" y="43"/>
                      <a:pt x="143" y="51"/>
                      <a:pt x="143" y="51"/>
                    </a:cubicBezTo>
                    <a:cubicBezTo>
                      <a:pt x="127" y="43"/>
                      <a:pt x="119" y="49"/>
                      <a:pt x="119" y="49"/>
                    </a:cubicBezTo>
                    <a:cubicBezTo>
                      <a:pt x="118" y="67"/>
                      <a:pt x="103" y="60"/>
                      <a:pt x="103" y="60"/>
                    </a:cubicBezTo>
                    <a:cubicBezTo>
                      <a:pt x="98" y="50"/>
                      <a:pt x="86" y="56"/>
                      <a:pt x="86" y="56"/>
                    </a:cubicBezTo>
                    <a:cubicBezTo>
                      <a:pt x="73" y="67"/>
                      <a:pt x="83" y="71"/>
                      <a:pt x="83" y="80"/>
                    </a:cubicBezTo>
                    <a:cubicBezTo>
                      <a:pt x="93" y="97"/>
                      <a:pt x="77" y="113"/>
                      <a:pt x="77" y="113"/>
                    </a:cubicBezTo>
                    <a:cubicBezTo>
                      <a:pt x="73" y="124"/>
                      <a:pt x="64" y="127"/>
                      <a:pt x="64" y="127"/>
                    </a:cubicBezTo>
                    <a:cubicBezTo>
                      <a:pt x="66" y="138"/>
                      <a:pt x="54" y="148"/>
                      <a:pt x="54" y="148"/>
                    </a:cubicBezTo>
                    <a:cubicBezTo>
                      <a:pt x="36" y="158"/>
                      <a:pt x="44" y="168"/>
                      <a:pt x="44" y="168"/>
                    </a:cubicBezTo>
                    <a:cubicBezTo>
                      <a:pt x="45" y="189"/>
                      <a:pt x="31" y="188"/>
                      <a:pt x="31" y="188"/>
                    </a:cubicBezTo>
                    <a:cubicBezTo>
                      <a:pt x="24" y="185"/>
                      <a:pt x="16" y="195"/>
                      <a:pt x="16" y="195"/>
                    </a:cubicBezTo>
                    <a:cubicBezTo>
                      <a:pt x="12" y="203"/>
                      <a:pt x="0" y="207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0" name="Freeform 23"/>
              <p:cNvSpPr>
                <a:spLocks/>
              </p:cNvSpPr>
              <p:nvPr/>
            </p:nvSpPr>
            <p:spPr bwMode="auto">
              <a:xfrm>
                <a:off x="4743604" y="3842631"/>
                <a:ext cx="63958" cy="73784"/>
              </a:xfrm>
              <a:custGeom>
                <a:avLst/>
                <a:gdLst/>
                <a:ahLst/>
                <a:cxnLst>
                  <a:cxn ang="0">
                    <a:pos x="7" y="29"/>
                  </a:cxn>
                  <a:cxn ang="0">
                    <a:pos x="13" y="0"/>
                  </a:cxn>
                  <a:cxn ang="0">
                    <a:pos x="7" y="29"/>
                  </a:cxn>
                  <a:cxn ang="0">
                    <a:pos x="7" y="29"/>
                  </a:cxn>
                </a:cxnLst>
                <a:rect l="0" t="0" r="r" b="b"/>
                <a:pathLst>
                  <a:path w="23" h="29">
                    <a:moveTo>
                      <a:pt x="7" y="29"/>
                    </a:moveTo>
                    <a:cubicBezTo>
                      <a:pt x="23" y="23"/>
                      <a:pt x="13" y="0"/>
                      <a:pt x="13" y="0"/>
                    </a:cubicBezTo>
                    <a:cubicBezTo>
                      <a:pt x="0" y="20"/>
                      <a:pt x="7" y="29"/>
                      <a:pt x="7" y="29"/>
                    </a:cubicBezTo>
                    <a:cubicBezTo>
                      <a:pt x="7" y="29"/>
                      <a:pt x="7" y="29"/>
                      <a:pt x="7" y="2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29" name="Freeform 22"/>
              <p:cNvSpPr>
                <a:spLocks/>
              </p:cNvSpPr>
              <p:nvPr/>
            </p:nvSpPr>
            <p:spPr bwMode="auto">
              <a:xfrm>
                <a:off x="4158609" y="3676808"/>
                <a:ext cx="459842" cy="241602"/>
              </a:xfrm>
              <a:custGeom>
                <a:avLst/>
                <a:gdLst>
                  <a:gd name="T0" fmla="*/ 2147483647 w 162"/>
                  <a:gd name="T1" fmla="*/ 2147483647 h 97"/>
                  <a:gd name="T2" fmla="*/ 2147483647 w 162"/>
                  <a:gd name="T3" fmla="*/ 2147483647 h 97"/>
                  <a:gd name="T4" fmla="*/ 2147483647 w 162"/>
                  <a:gd name="T5" fmla="*/ 2147483647 h 97"/>
                  <a:gd name="T6" fmla="*/ 2147483647 w 162"/>
                  <a:gd name="T7" fmla="*/ 2147483647 h 97"/>
                  <a:gd name="T8" fmla="*/ 2147483647 w 162"/>
                  <a:gd name="T9" fmla="*/ 2147483647 h 97"/>
                  <a:gd name="T10" fmla="*/ 2147483647 w 162"/>
                  <a:gd name="T11" fmla="*/ 2147483647 h 97"/>
                  <a:gd name="T12" fmla="*/ 2147483647 w 162"/>
                  <a:gd name="T13" fmla="*/ 2147483647 h 97"/>
                  <a:gd name="T14" fmla="*/ 2147483647 w 162"/>
                  <a:gd name="T15" fmla="*/ 2147483647 h 97"/>
                  <a:gd name="T16" fmla="*/ 2147483647 w 162"/>
                  <a:gd name="T17" fmla="*/ 2147483647 h 97"/>
                  <a:gd name="T18" fmla="*/ 2147483647 w 162"/>
                  <a:gd name="T19" fmla="*/ 2147483647 h 97"/>
                  <a:gd name="T20" fmla="*/ 2147483647 w 162"/>
                  <a:gd name="T21" fmla="*/ 2147483647 h 97"/>
                  <a:gd name="T22" fmla="*/ 2147483647 w 162"/>
                  <a:gd name="T23" fmla="*/ 2147483647 h 97"/>
                  <a:gd name="T24" fmla="*/ 2147483647 w 162"/>
                  <a:gd name="T25" fmla="*/ 2147483647 h 97"/>
                  <a:gd name="T26" fmla="*/ 2147483647 w 162"/>
                  <a:gd name="T27" fmla="*/ 2147483647 h 97"/>
                  <a:gd name="T28" fmla="*/ 2147483647 w 162"/>
                  <a:gd name="T29" fmla="*/ 2147483647 h 97"/>
                  <a:gd name="T30" fmla="*/ 2147483647 w 162"/>
                  <a:gd name="T31" fmla="*/ 2147483647 h 97"/>
                  <a:gd name="T32" fmla="*/ 2147483647 w 162"/>
                  <a:gd name="T33" fmla="*/ 2147483647 h 97"/>
                  <a:gd name="T34" fmla="*/ 2147483647 w 162"/>
                  <a:gd name="T35" fmla="*/ 2147483647 h 9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62"/>
                  <a:gd name="T55" fmla="*/ 0 h 97"/>
                  <a:gd name="T56" fmla="*/ 162 w 162"/>
                  <a:gd name="T57" fmla="*/ 97 h 9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62" h="97">
                    <a:moveTo>
                      <a:pt x="162" y="94"/>
                    </a:moveTo>
                    <a:cubicBezTo>
                      <a:pt x="149" y="82"/>
                      <a:pt x="135" y="71"/>
                      <a:pt x="124" y="65"/>
                    </a:cubicBezTo>
                    <a:cubicBezTo>
                      <a:pt x="91" y="46"/>
                      <a:pt x="94" y="33"/>
                      <a:pt x="75" y="34"/>
                    </a:cubicBezTo>
                    <a:cubicBezTo>
                      <a:pt x="82" y="28"/>
                      <a:pt x="82" y="23"/>
                      <a:pt x="82" y="23"/>
                    </a:cubicBezTo>
                    <a:cubicBezTo>
                      <a:pt x="64" y="34"/>
                      <a:pt x="56" y="20"/>
                      <a:pt x="56" y="20"/>
                    </a:cubicBezTo>
                    <a:cubicBezTo>
                      <a:pt x="50" y="16"/>
                      <a:pt x="32" y="16"/>
                      <a:pt x="32" y="16"/>
                    </a:cubicBezTo>
                    <a:cubicBezTo>
                      <a:pt x="26" y="0"/>
                      <a:pt x="2" y="2"/>
                      <a:pt x="2" y="2"/>
                    </a:cubicBezTo>
                    <a:cubicBezTo>
                      <a:pt x="0" y="9"/>
                      <a:pt x="16" y="2"/>
                      <a:pt x="19" y="20"/>
                    </a:cubicBezTo>
                    <a:cubicBezTo>
                      <a:pt x="26" y="31"/>
                      <a:pt x="35" y="20"/>
                      <a:pt x="35" y="20"/>
                    </a:cubicBezTo>
                    <a:cubicBezTo>
                      <a:pt x="53" y="26"/>
                      <a:pt x="53" y="34"/>
                      <a:pt x="53" y="34"/>
                    </a:cubicBezTo>
                    <a:cubicBezTo>
                      <a:pt x="64" y="34"/>
                      <a:pt x="67" y="45"/>
                      <a:pt x="67" y="45"/>
                    </a:cubicBezTo>
                    <a:cubicBezTo>
                      <a:pt x="79" y="41"/>
                      <a:pt x="77" y="50"/>
                      <a:pt x="77" y="50"/>
                    </a:cubicBezTo>
                    <a:cubicBezTo>
                      <a:pt x="91" y="50"/>
                      <a:pt x="93" y="59"/>
                      <a:pt x="93" y="59"/>
                    </a:cubicBezTo>
                    <a:cubicBezTo>
                      <a:pt x="96" y="67"/>
                      <a:pt x="107" y="60"/>
                      <a:pt x="115" y="73"/>
                    </a:cubicBezTo>
                    <a:cubicBezTo>
                      <a:pt x="128" y="71"/>
                      <a:pt x="129" y="86"/>
                      <a:pt x="129" y="86"/>
                    </a:cubicBezTo>
                    <a:cubicBezTo>
                      <a:pt x="141" y="86"/>
                      <a:pt x="149" y="91"/>
                      <a:pt x="149" y="91"/>
                    </a:cubicBezTo>
                    <a:cubicBezTo>
                      <a:pt x="154" y="97"/>
                      <a:pt x="162" y="94"/>
                      <a:pt x="162" y="94"/>
                    </a:cubicBezTo>
                    <a:cubicBezTo>
                      <a:pt x="162" y="94"/>
                      <a:pt x="162" y="94"/>
                      <a:pt x="162" y="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2" name="Freeform 21"/>
              <p:cNvSpPr>
                <a:spLocks/>
              </p:cNvSpPr>
              <p:nvPr/>
            </p:nvSpPr>
            <p:spPr bwMode="auto">
              <a:xfrm>
                <a:off x="3497120" y="3260414"/>
                <a:ext cx="58514" cy="124761"/>
              </a:xfrm>
              <a:custGeom>
                <a:avLst/>
                <a:gdLst/>
                <a:ahLst/>
                <a:cxnLst>
                  <a:cxn ang="0">
                    <a:pos x="3" y="48"/>
                  </a:cxn>
                  <a:cxn ang="0">
                    <a:pos x="18" y="27"/>
                  </a:cxn>
                  <a:cxn ang="0">
                    <a:pos x="8" y="4"/>
                  </a:cxn>
                  <a:cxn ang="0">
                    <a:pos x="0" y="23"/>
                  </a:cxn>
                  <a:cxn ang="0">
                    <a:pos x="3" y="48"/>
                  </a:cxn>
                  <a:cxn ang="0">
                    <a:pos x="3" y="48"/>
                  </a:cxn>
                </a:cxnLst>
                <a:rect l="0" t="0" r="r" b="b"/>
                <a:pathLst>
                  <a:path w="21" h="50">
                    <a:moveTo>
                      <a:pt x="3" y="48"/>
                    </a:moveTo>
                    <a:cubicBezTo>
                      <a:pt x="15" y="50"/>
                      <a:pt x="18" y="27"/>
                      <a:pt x="18" y="27"/>
                    </a:cubicBezTo>
                    <a:cubicBezTo>
                      <a:pt x="21" y="4"/>
                      <a:pt x="8" y="4"/>
                      <a:pt x="8" y="4"/>
                    </a:cubicBezTo>
                    <a:cubicBezTo>
                      <a:pt x="2" y="0"/>
                      <a:pt x="0" y="23"/>
                      <a:pt x="0" y="23"/>
                    </a:cubicBezTo>
                    <a:cubicBezTo>
                      <a:pt x="5" y="32"/>
                      <a:pt x="3" y="48"/>
                      <a:pt x="3" y="48"/>
                    </a:cubicBezTo>
                    <a:cubicBezTo>
                      <a:pt x="3" y="48"/>
                      <a:pt x="3" y="48"/>
                      <a:pt x="3" y="48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1" name="Freeform 20"/>
              <p:cNvSpPr>
                <a:spLocks/>
              </p:cNvSpPr>
              <p:nvPr/>
            </p:nvSpPr>
            <p:spPr bwMode="auto">
              <a:xfrm>
                <a:off x="3587128" y="3446991"/>
                <a:ext cx="580783" cy="276959"/>
              </a:xfrm>
              <a:custGeom>
                <a:avLst/>
                <a:gdLst>
                  <a:gd name="T0" fmla="*/ 2147483647 w 205"/>
                  <a:gd name="T1" fmla="*/ 2147483647 h 111"/>
                  <a:gd name="T2" fmla="*/ 2147483647 w 205"/>
                  <a:gd name="T3" fmla="*/ 2147483647 h 111"/>
                  <a:gd name="T4" fmla="*/ 2147483647 w 205"/>
                  <a:gd name="T5" fmla="*/ 2147483647 h 111"/>
                  <a:gd name="T6" fmla="*/ 2147483647 w 205"/>
                  <a:gd name="T7" fmla="*/ 0 h 111"/>
                  <a:gd name="T8" fmla="*/ 2147483647 w 205"/>
                  <a:gd name="T9" fmla="*/ 2147483647 h 111"/>
                  <a:gd name="T10" fmla="*/ 2147483647 w 205"/>
                  <a:gd name="T11" fmla="*/ 2147483647 h 111"/>
                  <a:gd name="T12" fmla="*/ 2147483647 w 205"/>
                  <a:gd name="T13" fmla="*/ 2147483647 h 111"/>
                  <a:gd name="T14" fmla="*/ 2147483647 w 205"/>
                  <a:gd name="T15" fmla="*/ 2147483647 h 111"/>
                  <a:gd name="T16" fmla="*/ 2147483647 w 205"/>
                  <a:gd name="T17" fmla="*/ 2147483647 h 111"/>
                  <a:gd name="T18" fmla="*/ 2147483647 w 205"/>
                  <a:gd name="T19" fmla="*/ 2147483647 h 111"/>
                  <a:gd name="T20" fmla="*/ 2147483647 w 205"/>
                  <a:gd name="T21" fmla="*/ 2147483647 h 111"/>
                  <a:gd name="T22" fmla="*/ 2147483647 w 205"/>
                  <a:gd name="T23" fmla="*/ 2147483647 h 111"/>
                  <a:gd name="T24" fmla="*/ 2147483647 w 205"/>
                  <a:gd name="T25" fmla="*/ 2147483647 h 111"/>
                  <a:gd name="T26" fmla="*/ 2147483647 w 205"/>
                  <a:gd name="T27" fmla="*/ 2147483647 h 111"/>
                  <a:gd name="T28" fmla="*/ 2147483647 w 205"/>
                  <a:gd name="T29" fmla="*/ 2147483647 h 111"/>
                  <a:gd name="T30" fmla="*/ 2147483647 w 205"/>
                  <a:gd name="T31" fmla="*/ 2147483647 h 111"/>
                  <a:gd name="T32" fmla="*/ 2147483647 w 205"/>
                  <a:gd name="T33" fmla="*/ 2147483647 h 111"/>
                  <a:gd name="T34" fmla="*/ 2147483647 w 205"/>
                  <a:gd name="T35" fmla="*/ 2147483647 h 111"/>
                  <a:gd name="T36" fmla="*/ 2147483647 w 205"/>
                  <a:gd name="T37" fmla="*/ 2147483647 h 111"/>
                  <a:gd name="T38" fmla="*/ 2147483647 w 205"/>
                  <a:gd name="T39" fmla="*/ 2147483647 h 111"/>
                  <a:gd name="T40" fmla="*/ 2147483647 w 205"/>
                  <a:gd name="T41" fmla="*/ 2147483647 h 111"/>
                  <a:gd name="T42" fmla="*/ 2147483647 w 205"/>
                  <a:gd name="T43" fmla="*/ 2147483647 h 111"/>
                  <a:gd name="T44" fmla="*/ 2147483647 w 205"/>
                  <a:gd name="T45" fmla="*/ 2147483647 h 111"/>
                  <a:gd name="T46" fmla="*/ 2147483647 w 205"/>
                  <a:gd name="T47" fmla="*/ 2147483647 h 111"/>
                  <a:gd name="T48" fmla="*/ 2147483647 w 205"/>
                  <a:gd name="T49" fmla="*/ 2147483647 h 111"/>
                  <a:gd name="T50" fmla="*/ 2147483647 w 205"/>
                  <a:gd name="T51" fmla="*/ 2147483647 h 11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5"/>
                  <a:gd name="T79" fmla="*/ 0 h 111"/>
                  <a:gd name="T80" fmla="*/ 205 w 205"/>
                  <a:gd name="T81" fmla="*/ 111 h 11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5" h="111">
                    <a:moveTo>
                      <a:pt x="117" y="44"/>
                    </a:moveTo>
                    <a:cubicBezTo>
                      <a:pt x="98" y="41"/>
                      <a:pt x="80" y="26"/>
                      <a:pt x="80" y="26"/>
                    </a:cubicBezTo>
                    <a:cubicBezTo>
                      <a:pt x="75" y="11"/>
                      <a:pt x="51" y="17"/>
                      <a:pt x="51" y="17"/>
                    </a:cubicBezTo>
                    <a:cubicBezTo>
                      <a:pt x="47" y="2"/>
                      <a:pt x="36" y="0"/>
                      <a:pt x="36" y="0"/>
                    </a:cubicBezTo>
                    <a:cubicBezTo>
                      <a:pt x="32" y="0"/>
                      <a:pt x="31" y="9"/>
                      <a:pt x="31" y="9"/>
                    </a:cubicBezTo>
                    <a:cubicBezTo>
                      <a:pt x="0" y="4"/>
                      <a:pt x="40" y="22"/>
                      <a:pt x="40" y="22"/>
                    </a:cubicBezTo>
                    <a:cubicBezTo>
                      <a:pt x="61" y="34"/>
                      <a:pt x="65" y="44"/>
                      <a:pt x="65" y="44"/>
                    </a:cubicBezTo>
                    <a:cubicBezTo>
                      <a:pt x="91" y="48"/>
                      <a:pt x="91" y="56"/>
                      <a:pt x="91" y="56"/>
                    </a:cubicBezTo>
                    <a:cubicBezTo>
                      <a:pt x="116" y="66"/>
                      <a:pt x="120" y="74"/>
                      <a:pt x="120" y="74"/>
                    </a:cubicBezTo>
                    <a:cubicBezTo>
                      <a:pt x="133" y="81"/>
                      <a:pt x="127" y="94"/>
                      <a:pt x="127" y="94"/>
                    </a:cubicBezTo>
                    <a:cubicBezTo>
                      <a:pt x="132" y="98"/>
                      <a:pt x="138" y="86"/>
                      <a:pt x="153" y="92"/>
                    </a:cubicBezTo>
                    <a:cubicBezTo>
                      <a:pt x="189" y="96"/>
                      <a:pt x="157" y="111"/>
                      <a:pt x="157" y="111"/>
                    </a:cubicBezTo>
                    <a:cubicBezTo>
                      <a:pt x="157" y="111"/>
                      <a:pt x="157" y="111"/>
                      <a:pt x="157" y="111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81" y="110"/>
                      <a:pt x="181" y="110"/>
                      <a:pt x="181" y="110"/>
                    </a:cubicBezTo>
                    <a:cubicBezTo>
                      <a:pt x="171" y="97"/>
                      <a:pt x="180" y="95"/>
                      <a:pt x="180" y="95"/>
                    </a:cubicBezTo>
                    <a:cubicBezTo>
                      <a:pt x="194" y="97"/>
                      <a:pt x="197" y="103"/>
                      <a:pt x="197" y="103"/>
                    </a:cubicBezTo>
                    <a:cubicBezTo>
                      <a:pt x="196" y="96"/>
                      <a:pt x="205" y="91"/>
                      <a:pt x="205" y="91"/>
                    </a:cubicBezTo>
                    <a:cubicBezTo>
                      <a:pt x="188" y="96"/>
                      <a:pt x="182" y="86"/>
                      <a:pt x="182" y="86"/>
                    </a:cubicBezTo>
                    <a:cubicBezTo>
                      <a:pt x="174" y="72"/>
                      <a:pt x="158" y="59"/>
                      <a:pt x="158" y="59"/>
                    </a:cubicBezTo>
                    <a:cubicBezTo>
                      <a:pt x="157" y="52"/>
                      <a:pt x="150" y="48"/>
                      <a:pt x="150" y="48"/>
                    </a:cubicBezTo>
                    <a:cubicBezTo>
                      <a:pt x="146" y="33"/>
                      <a:pt x="126" y="21"/>
                      <a:pt x="126" y="21"/>
                    </a:cubicBezTo>
                    <a:cubicBezTo>
                      <a:pt x="120" y="20"/>
                      <a:pt x="120" y="11"/>
                      <a:pt x="120" y="11"/>
                    </a:cubicBezTo>
                    <a:cubicBezTo>
                      <a:pt x="104" y="25"/>
                      <a:pt x="118" y="31"/>
                      <a:pt x="118" y="31"/>
                    </a:cubicBezTo>
                    <a:cubicBezTo>
                      <a:pt x="124" y="44"/>
                      <a:pt x="117" y="44"/>
                      <a:pt x="117" y="44"/>
                    </a:cubicBezTo>
                    <a:cubicBezTo>
                      <a:pt x="117" y="44"/>
                      <a:pt x="117" y="44"/>
                      <a:pt x="117" y="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2" name="Freeform 19"/>
              <p:cNvSpPr>
                <a:spLocks/>
              </p:cNvSpPr>
              <p:nvPr/>
            </p:nvSpPr>
            <p:spPr bwMode="auto">
              <a:xfrm>
                <a:off x="3561877" y="3418706"/>
                <a:ext cx="63793" cy="47142"/>
              </a:xfrm>
              <a:custGeom>
                <a:avLst/>
                <a:gdLst>
                  <a:gd name="T0" fmla="*/ 0 w 23"/>
                  <a:gd name="T1" fmla="*/ 2147483647 h 19"/>
                  <a:gd name="T2" fmla="*/ 2147483647 w 23"/>
                  <a:gd name="T3" fmla="*/ 2147483647 h 19"/>
                  <a:gd name="T4" fmla="*/ 2147483647 w 23"/>
                  <a:gd name="T5" fmla="*/ 2147483647 h 19"/>
                  <a:gd name="T6" fmla="*/ 2147483647 w 23"/>
                  <a:gd name="T7" fmla="*/ 2147483647 h 19"/>
                  <a:gd name="T8" fmla="*/ 2147483647 w 23"/>
                  <a:gd name="T9" fmla="*/ 2147483647 h 19"/>
                  <a:gd name="T10" fmla="*/ 2147483647 w 23"/>
                  <a:gd name="T11" fmla="*/ 2147483647 h 19"/>
                  <a:gd name="T12" fmla="*/ 0 w 23"/>
                  <a:gd name="T13" fmla="*/ 2147483647 h 19"/>
                  <a:gd name="T14" fmla="*/ 0 w 23"/>
                  <a:gd name="T15" fmla="*/ 2147483647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3"/>
                  <a:gd name="T25" fmla="*/ 0 h 19"/>
                  <a:gd name="T26" fmla="*/ 23 w 2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3" h="19">
                    <a:moveTo>
                      <a:pt x="0" y="2"/>
                    </a:moveTo>
                    <a:cubicBezTo>
                      <a:pt x="9" y="0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19" y="19"/>
                      <a:pt x="14" y="7"/>
                      <a:pt x="14" y="7"/>
                    </a:cubicBezTo>
                    <a:cubicBezTo>
                      <a:pt x="9" y="3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4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45" name="Freeform 18"/>
              <p:cNvSpPr>
                <a:spLocks/>
              </p:cNvSpPr>
              <p:nvPr/>
            </p:nvSpPr>
            <p:spPr bwMode="auto">
              <a:xfrm>
                <a:off x="3249456" y="3132971"/>
                <a:ext cx="232696" cy="165006"/>
              </a:xfrm>
              <a:custGeom>
                <a:avLst/>
                <a:gdLst/>
                <a:ahLst/>
                <a:cxnLst>
                  <a:cxn ang="0">
                    <a:pos x="32" y="37"/>
                  </a:cxn>
                  <a:cxn ang="0">
                    <a:pos x="13" y="24"/>
                  </a:cxn>
                  <a:cxn ang="0">
                    <a:pos x="0" y="6"/>
                  </a:cxn>
                  <a:cxn ang="0">
                    <a:pos x="11" y="31"/>
                  </a:cxn>
                  <a:cxn ang="0">
                    <a:pos x="39" y="53"/>
                  </a:cxn>
                  <a:cxn ang="0">
                    <a:pos x="66" y="64"/>
                  </a:cxn>
                  <a:cxn ang="0">
                    <a:pos x="82" y="51"/>
                  </a:cxn>
                  <a:cxn ang="0">
                    <a:pos x="64" y="51"/>
                  </a:cxn>
                  <a:cxn ang="0">
                    <a:pos x="47" y="50"/>
                  </a:cxn>
                  <a:cxn ang="0">
                    <a:pos x="47" y="50"/>
                  </a:cxn>
                  <a:cxn ang="0">
                    <a:pos x="32" y="37"/>
                  </a:cxn>
                </a:cxnLst>
                <a:rect l="0" t="0" r="r" b="b"/>
                <a:pathLst>
                  <a:path w="82" h="66">
                    <a:moveTo>
                      <a:pt x="32" y="37"/>
                    </a:moveTo>
                    <a:cubicBezTo>
                      <a:pt x="32" y="37"/>
                      <a:pt x="31" y="27"/>
                      <a:pt x="13" y="24"/>
                    </a:cubicBezTo>
                    <a:cubicBezTo>
                      <a:pt x="3" y="0"/>
                      <a:pt x="0" y="6"/>
                      <a:pt x="0" y="6"/>
                    </a:cubicBezTo>
                    <a:cubicBezTo>
                      <a:pt x="0" y="6"/>
                      <a:pt x="4" y="27"/>
                      <a:pt x="11" y="31"/>
                    </a:cubicBezTo>
                    <a:cubicBezTo>
                      <a:pt x="17" y="35"/>
                      <a:pt x="24" y="32"/>
                      <a:pt x="39" y="53"/>
                    </a:cubicBezTo>
                    <a:cubicBezTo>
                      <a:pt x="52" y="66"/>
                      <a:pt x="66" y="64"/>
                      <a:pt x="66" y="64"/>
                    </a:cubicBezTo>
                    <a:cubicBezTo>
                      <a:pt x="76" y="62"/>
                      <a:pt x="82" y="51"/>
                      <a:pt x="82" y="51"/>
                    </a:cubicBezTo>
                    <a:cubicBezTo>
                      <a:pt x="82" y="46"/>
                      <a:pt x="64" y="51"/>
                      <a:pt x="64" y="51"/>
                    </a:cubicBezTo>
                    <a:cubicBezTo>
                      <a:pt x="55" y="54"/>
                      <a:pt x="55" y="49"/>
                      <a:pt x="47" y="50"/>
                    </a:cubicBezTo>
                    <a:cubicBezTo>
                      <a:pt x="47" y="50"/>
                      <a:pt x="47" y="50"/>
                      <a:pt x="47" y="50"/>
                    </a:cubicBezTo>
                    <a:cubicBezTo>
                      <a:pt x="32" y="37"/>
                      <a:pt x="32" y="37"/>
                      <a:pt x="32" y="3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uk-UA" sz="600" dirty="0">
                  <a:solidFill>
                    <a:prstClr val="black"/>
                  </a:solidFill>
                  <a:latin typeface="Calibri" panose="020F0502020204030204" pitchFamily="34" charset="0"/>
                  <a:cs typeface="Arial" pitchFamily="34" charset="0"/>
                </a:endParaRPr>
              </a:p>
            </p:txBody>
          </p:sp>
          <p:sp>
            <p:nvSpPr>
              <p:cNvPr id="41134" name="Freeform 17"/>
              <p:cNvSpPr>
                <a:spLocks/>
              </p:cNvSpPr>
              <p:nvPr/>
            </p:nvSpPr>
            <p:spPr bwMode="auto">
              <a:xfrm>
                <a:off x="3111338" y="2669150"/>
                <a:ext cx="119612" cy="315851"/>
              </a:xfrm>
              <a:custGeom>
                <a:avLst/>
                <a:gdLst>
                  <a:gd name="T0" fmla="*/ 2147483647 w 42"/>
                  <a:gd name="T1" fmla="*/ 2147483647 h 126"/>
                  <a:gd name="T2" fmla="*/ 2147483647 w 42"/>
                  <a:gd name="T3" fmla="*/ 2147483647 h 126"/>
                  <a:gd name="T4" fmla="*/ 2147483647 w 42"/>
                  <a:gd name="T5" fmla="*/ 2147483647 h 126"/>
                  <a:gd name="T6" fmla="*/ 0 w 42"/>
                  <a:gd name="T7" fmla="*/ 2147483647 h 126"/>
                  <a:gd name="T8" fmla="*/ 2147483647 w 42"/>
                  <a:gd name="T9" fmla="*/ 2147483647 h 126"/>
                  <a:gd name="T10" fmla="*/ 2147483647 w 42"/>
                  <a:gd name="T11" fmla="*/ 2147483647 h 126"/>
                  <a:gd name="T12" fmla="*/ 2147483647 w 42"/>
                  <a:gd name="T13" fmla="*/ 2147483647 h 126"/>
                  <a:gd name="T14" fmla="*/ 2147483647 w 42"/>
                  <a:gd name="T15" fmla="*/ 2147483647 h 126"/>
                  <a:gd name="T16" fmla="*/ 2147483647 w 42"/>
                  <a:gd name="T17" fmla="*/ 2147483647 h 126"/>
                  <a:gd name="T18" fmla="*/ 2147483647 w 42"/>
                  <a:gd name="T19" fmla="*/ 2147483647 h 126"/>
                  <a:gd name="T20" fmla="*/ 2147483647 w 42"/>
                  <a:gd name="T21" fmla="*/ 2147483647 h 1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126"/>
                  <a:gd name="T35" fmla="*/ 42 w 42"/>
                  <a:gd name="T36" fmla="*/ 126 h 12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126">
                    <a:moveTo>
                      <a:pt x="29" y="126"/>
                    </a:moveTo>
                    <a:cubicBezTo>
                      <a:pt x="5" y="120"/>
                      <a:pt x="15" y="88"/>
                      <a:pt x="15" y="88"/>
                    </a:cubicBezTo>
                    <a:cubicBezTo>
                      <a:pt x="31" y="58"/>
                      <a:pt x="11" y="51"/>
                      <a:pt x="11" y="51"/>
                    </a:cubicBezTo>
                    <a:cubicBezTo>
                      <a:pt x="9" y="45"/>
                      <a:pt x="0" y="48"/>
                      <a:pt x="0" y="48"/>
                    </a:cubicBezTo>
                    <a:cubicBezTo>
                      <a:pt x="17" y="41"/>
                      <a:pt x="25" y="23"/>
                      <a:pt x="25" y="23"/>
                    </a:cubicBezTo>
                    <a:cubicBezTo>
                      <a:pt x="32" y="0"/>
                      <a:pt x="37" y="16"/>
                      <a:pt x="37" y="16"/>
                    </a:cubicBezTo>
                    <a:cubicBezTo>
                      <a:pt x="40" y="28"/>
                      <a:pt x="28" y="36"/>
                      <a:pt x="35" y="35"/>
                    </a:cubicBezTo>
                    <a:cubicBezTo>
                      <a:pt x="42" y="37"/>
                      <a:pt x="28" y="51"/>
                      <a:pt x="35" y="57"/>
                    </a:cubicBezTo>
                    <a:cubicBezTo>
                      <a:pt x="32" y="63"/>
                      <a:pt x="36" y="92"/>
                      <a:pt x="32" y="99"/>
                    </a:cubicBezTo>
                    <a:cubicBezTo>
                      <a:pt x="28" y="106"/>
                      <a:pt x="29" y="126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135" name="Freeform 43"/>
              <p:cNvSpPr>
                <a:spLocks/>
              </p:cNvSpPr>
              <p:nvPr/>
            </p:nvSpPr>
            <p:spPr bwMode="auto">
              <a:xfrm>
                <a:off x="5220498" y="3505918"/>
                <a:ext cx="894433" cy="1097227"/>
              </a:xfrm>
              <a:custGeom>
                <a:avLst/>
                <a:gdLst>
                  <a:gd name="T0" fmla="*/ 2147483647 w 316"/>
                  <a:gd name="T1" fmla="*/ 2147483647 h 439"/>
                  <a:gd name="T2" fmla="*/ 2147483647 w 316"/>
                  <a:gd name="T3" fmla="*/ 2147483647 h 439"/>
                  <a:gd name="T4" fmla="*/ 2147483647 w 316"/>
                  <a:gd name="T5" fmla="*/ 2147483647 h 439"/>
                  <a:gd name="T6" fmla="*/ 2147483647 w 316"/>
                  <a:gd name="T7" fmla="*/ 2147483647 h 439"/>
                  <a:gd name="T8" fmla="*/ 2147483647 w 316"/>
                  <a:gd name="T9" fmla="*/ 2147483647 h 439"/>
                  <a:gd name="T10" fmla="*/ 2147483647 w 316"/>
                  <a:gd name="T11" fmla="*/ 2147483647 h 439"/>
                  <a:gd name="T12" fmla="*/ 2147483647 w 316"/>
                  <a:gd name="T13" fmla="*/ 2147483647 h 439"/>
                  <a:gd name="T14" fmla="*/ 2147483647 w 316"/>
                  <a:gd name="T15" fmla="*/ 2147483647 h 439"/>
                  <a:gd name="T16" fmla="*/ 2147483647 w 316"/>
                  <a:gd name="T17" fmla="*/ 2147483647 h 439"/>
                  <a:gd name="T18" fmla="*/ 2147483647 w 316"/>
                  <a:gd name="T19" fmla="*/ 2147483647 h 439"/>
                  <a:gd name="T20" fmla="*/ 2147483647 w 316"/>
                  <a:gd name="T21" fmla="*/ 2147483647 h 439"/>
                  <a:gd name="T22" fmla="*/ 2147483647 w 316"/>
                  <a:gd name="T23" fmla="*/ 2147483647 h 439"/>
                  <a:gd name="T24" fmla="*/ 2147483647 w 316"/>
                  <a:gd name="T25" fmla="*/ 2147483647 h 439"/>
                  <a:gd name="T26" fmla="*/ 2147483647 w 316"/>
                  <a:gd name="T27" fmla="*/ 2147483647 h 439"/>
                  <a:gd name="T28" fmla="*/ 2147483647 w 316"/>
                  <a:gd name="T29" fmla="*/ 2147483647 h 439"/>
                  <a:gd name="T30" fmla="*/ 2147483647 w 316"/>
                  <a:gd name="T31" fmla="*/ 2147483647 h 439"/>
                  <a:gd name="T32" fmla="*/ 2147483647 w 316"/>
                  <a:gd name="T33" fmla="*/ 2147483647 h 439"/>
                  <a:gd name="T34" fmla="*/ 2147483647 w 316"/>
                  <a:gd name="T35" fmla="*/ 2147483647 h 439"/>
                  <a:gd name="T36" fmla="*/ 2147483647 w 316"/>
                  <a:gd name="T37" fmla="*/ 2147483647 h 439"/>
                  <a:gd name="T38" fmla="*/ 2147483647 w 316"/>
                  <a:gd name="T39" fmla="*/ 2147483647 h 439"/>
                  <a:gd name="T40" fmla="*/ 2147483647 w 316"/>
                  <a:gd name="T41" fmla="*/ 2147483647 h 439"/>
                  <a:gd name="T42" fmla="*/ 2147483647 w 316"/>
                  <a:gd name="T43" fmla="*/ 2147483647 h 439"/>
                  <a:gd name="T44" fmla="*/ 2147483647 w 316"/>
                  <a:gd name="T45" fmla="*/ 2147483647 h 439"/>
                  <a:gd name="T46" fmla="*/ 2147483647 w 316"/>
                  <a:gd name="T47" fmla="*/ 2147483647 h 439"/>
                  <a:gd name="T48" fmla="*/ 2147483647 w 316"/>
                  <a:gd name="T49" fmla="*/ 2147483647 h 439"/>
                  <a:gd name="T50" fmla="*/ 2147483647 w 316"/>
                  <a:gd name="T51" fmla="*/ 2147483647 h 439"/>
                  <a:gd name="T52" fmla="*/ 2147483647 w 316"/>
                  <a:gd name="T53" fmla="*/ 2147483647 h 439"/>
                  <a:gd name="T54" fmla="*/ 2147483647 w 316"/>
                  <a:gd name="T55" fmla="*/ 2147483647 h 439"/>
                  <a:gd name="T56" fmla="*/ 2147483647 w 316"/>
                  <a:gd name="T57" fmla="*/ 2147483647 h 439"/>
                  <a:gd name="T58" fmla="*/ 2147483647 w 316"/>
                  <a:gd name="T59" fmla="*/ 2147483647 h 439"/>
                  <a:gd name="T60" fmla="*/ 2147483647 w 316"/>
                  <a:gd name="T61" fmla="*/ 2147483647 h 439"/>
                  <a:gd name="T62" fmla="*/ 2147483647 w 316"/>
                  <a:gd name="T63" fmla="*/ 2147483647 h 439"/>
                  <a:gd name="T64" fmla="*/ 2147483647 w 316"/>
                  <a:gd name="T65" fmla="*/ 2147483647 h 439"/>
                  <a:gd name="T66" fmla="*/ 2147483647 w 316"/>
                  <a:gd name="T67" fmla="*/ 2147483647 h 439"/>
                  <a:gd name="T68" fmla="*/ 2147483647 w 316"/>
                  <a:gd name="T69" fmla="*/ 2147483647 h 439"/>
                  <a:gd name="T70" fmla="*/ 2147483647 w 316"/>
                  <a:gd name="T71" fmla="*/ 2147483647 h 439"/>
                  <a:gd name="T72" fmla="*/ 2147483647 w 316"/>
                  <a:gd name="T73" fmla="*/ 2147483647 h 439"/>
                  <a:gd name="T74" fmla="*/ 2147483647 w 316"/>
                  <a:gd name="T75" fmla="*/ 2147483647 h 43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16"/>
                  <a:gd name="T115" fmla="*/ 0 h 439"/>
                  <a:gd name="T116" fmla="*/ 316 w 316"/>
                  <a:gd name="T117" fmla="*/ 439 h 43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16" h="439">
                    <a:moveTo>
                      <a:pt x="19" y="127"/>
                    </a:moveTo>
                    <a:cubicBezTo>
                      <a:pt x="34" y="131"/>
                      <a:pt x="26" y="135"/>
                      <a:pt x="26" y="135"/>
                    </a:cubicBezTo>
                    <a:cubicBezTo>
                      <a:pt x="20" y="141"/>
                      <a:pt x="30" y="145"/>
                      <a:pt x="31" y="137"/>
                    </a:cubicBezTo>
                    <a:cubicBezTo>
                      <a:pt x="37" y="131"/>
                      <a:pt x="44" y="135"/>
                      <a:pt x="44" y="135"/>
                    </a:cubicBezTo>
                    <a:cubicBezTo>
                      <a:pt x="44" y="138"/>
                      <a:pt x="33" y="144"/>
                      <a:pt x="37" y="155"/>
                    </a:cubicBezTo>
                    <a:cubicBezTo>
                      <a:pt x="32" y="180"/>
                      <a:pt x="40" y="180"/>
                      <a:pt x="40" y="180"/>
                    </a:cubicBezTo>
                    <a:cubicBezTo>
                      <a:pt x="50" y="182"/>
                      <a:pt x="51" y="193"/>
                      <a:pt x="51" y="193"/>
                    </a:cubicBezTo>
                    <a:cubicBezTo>
                      <a:pt x="55" y="202"/>
                      <a:pt x="48" y="205"/>
                      <a:pt x="48" y="205"/>
                    </a:cubicBezTo>
                    <a:cubicBezTo>
                      <a:pt x="40" y="206"/>
                      <a:pt x="48" y="220"/>
                      <a:pt x="48" y="220"/>
                    </a:cubicBezTo>
                    <a:cubicBezTo>
                      <a:pt x="55" y="237"/>
                      <a:pt x="34" y="230"/>
                      <a:pt x="34" y="230"/>
                    </a:cubicBezTo>
                    <a:cubicBezTo>
                      <a:pt x="21" y="215"/>
                      <a:pt x="14" y="226"/>
                      <a:pt x="14" y="226"/>
                    </a:cubicBezTo>
                    <a:cubicBezTo>
                      <a:pt x="5" y="237"/>
                      <a:pt x="14" y="244"/>
                      <a:pt x="14" y="244"/>
                    </a:cubicBezTo>
                    <a:cubicBezTo>
                      <a:pt x="24" y="252"/>
                      <a:pt x="14" y="255"/>
                      <a:pt x="14" y="255"/>
                    </a:cubicBezTo>
                    <a:cubicBezTo>
                      <a:pt x="0" y="257"/>
                      <a:pt x="15" y="270"/>
                      <a:pt x="15" y="270"/>
                    </a:cubicBezTo>
                    <a:cubicBezTo>
                      <a:pt x="16" y="279"/>
                      <a:pt x="21" y="278"/>
                      <a:pt x="21" y="278"/>
                    </a:cubicBezTo>
                    <a:cubicBezTo>
                      <a:pt x="28" y="278"/>
                      <a:pt x="29" y="289"/>
                      <a:pt x="29" y="289"/>
                    </a:cubicBezTo>
                    <a:cubicBezTo>
                      <a:pt x="33" y="297"/>
                      <a:pt x="39" y="308"/>
                      <a:pt x="39" y="308"/>
                    </a:cubicBezTo>
                    <a:cubicBezTo>
                      <a:pt x="49" y="305"/>
                      <a:pt x="54" y="314"/>
                      <a:pt x="54" y="314"/>
                    </a:cubicBezTo>
                    <a:cubicBezTo>
                      <a:pt x="58" y="321"/>
                      <a:pt x="62" y="308"/>
                      <a:pt x="69" y="319"/>
                    </a:cubicBezTo>
                    <a:cubicBezTo>
                      <a:pt x="77" y="320"/>
                      <a:pt x="85" y="330"/>
                      <a:pt x="85" y="330"/>
                    </a:cubicBezTo>
                    <a:cubicBezTo>
                      <a:pt x="103" y="329"/>
                      <a:pt x="97" y="340"/>
                      <a:pt x="97" y="340"/>
                    </a:cubicBezTo>
                    <a:cubicBezTo>
                      <a:pt x="79" y="344"/>
                      <a:pt x="91" y="347"/>
                      <a:pt x="91" y="347"/>
                    </a:cubicBezTo>
                    <a:cubicBezTo>
                      <a:pt x="91" y="347"/>
                      <a:pt x="99" y="351"/>
                      <a:pt x="85" y="354"/>
                    </a:cubicBezTo>
                    <a:cubicBezTo>
                      <a:pt x="78" y="353"/>
                      <a:pt x="87" y="365"/>
                      <a:pt x="75" y="361"/>
                    </a:cubicBezTo>
                    <a:cubicBezTo>
                      <a:pt x="54" y="363"/>
                      <a:pt x="65" y="373"/>
                      <a:pt x="65" y="373"/>
                    </a:cubicBezTo>
                    <a:cubicBezTo>
                      <a:pt x="70" y="380"/>
                      <a:pt x="59" y="385"/>
                      <a:pt x="59" y="385"/>
                    </a:cubicBezTo>
                    <a:cubicBezTo>
                      <a:pt x="78" y="389"/>
                      <a:pt x="78" y="405"/>
                      <a:pt x="78" y="405"/>
                    </a:cubicBezTo>
                    <a:cubicBezTo>
                      <a:pt x="99" y="405"/>
                      <a:pt x="94" y="415"/>
                      <a:pt x="94" y="415"/>
                    </a:cubicBezTo>
                    <a:cubicBezTo>
                      <a:pt x="96" y="422"/>
                      <a:pt x="89" y="423"/>
                      <a:pt x="89" y="423"/>
                    </a:cubicBezTo>
                    <a:cubicBezTo>
                      <a:pt x="72" y="426"/>
                      <a:pt x="87" y="439"/>
                      <a:pt x="87" y="439"/>
                    </a:cubicBezTo>
                    <a:cubicBezTo>
                      <a:pt x="89" y="437"/>
                      <a:pt x="92" y="435"/>
                      <a:pt x="95" y="434"/>
                    </a:cubicBezTo>
                    <a:cubicBezTo>
                      <a:pt x="95" y="434"/>
                      <a:pt x="110" y="418"/>
                      <a:pt x="123" y="434"/>
                    </a:cubicBezTo>
                    <a:cubicBezTo>
                      <a:pt x="123" y="434"/>
                      <a:pt x="130" y="415"/>
                      <a:pt x="150" y="395"/>
                    </a:cubicBezTo>
                    <a:cubicBezTo>
                      <a:pt x="180" y="397"/>
                      <a:pt x="191" y="384"/>
                      <a:pt x="220" y="389"/>
                    </a:cubicBezTo>
                    <a:cubicBezTo>
                      <a:pt x="220" y="389"/>
                      <a:pt x="224" y="387"/>
                      <a:pt x="230" y="384"/>
                    </a:cubicBezTo>
                    <a:cubicBezTo>
                      <a:pt x="230" y="372"/>
                      <a:pt x="221" y="366"/>
                      <a:pt x="230" y="358"/>
                    </a:cubicBezTo>
                    <a:cubicBezTo>
                      <a:pt x="237" y="355"/>
                      <a:pt x="242" y="345"/>
                      <a:pt x="230" y="346"/>
                    </a:cubicBezTo>
                    <a:cubicBezTo>
                      <a:pt x="220" y="347"/>
                      <a:pt x="229" y="331"/>
                      <a:pt x="229" y="331"/>
                    </a:cubicBezTo>
                    <a:cubicBezTo>
                      <a:pt x="233" y="325"/>
                      <a:pt x="224" y="299"/>
                      <a:pt x="238" y="288"/>
                    </a:cubicBezTo>
                    <a:cubicBezTo>
                      <a:pt x="249" y="279"/>
                      <a:pt x="254" y="285"/>
                      <a:pt x="265" y="281"/>
                    </a:cubicBezTo>
                    <a:cubicBezTo>
                      <a:pt x="278" y="275"/>
                      <a:pt x="268" y="268"/>
                      <a:pt x="278" y="269"/>
                    </a:cubicBezTo>
                    <a:cubicBezTo>
                      <a:pt x="288" y="270"/>
                      <a:pt x="285" y="255"/>
                      <a:pt x="285" y="255"/>
                    </a:cubicBezTo>
                    <a:cubicBezTo>
                      <a:pt x="283" y="230"/>
                      <a:pt x="303" y="234"/>
                      <a:pt x="303" y="234"/>
                    </a:cubicBezTo>
                    <a:cubicBezTo>
                      <a:pt x="306" y="234"/>
                      <a:pt x="309" y="235"/>
                      <a:pt x="312" y="235"/>
                    </a:cubicBezTo>
                    <a:cubicBezTo>
                      <a:pt x="312" y="235"/>
                      <a:pt x="312" y="235"/>
                      <a:pt x="312" y="235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2" y="223"/>
                      <a:pt x="312" y="223"/>
                    </a:cubicBezTo>
                    <a:cubicBezTo>
                      <a:pt x="312" y="223"/>
                      <a:pt x="316" y="208"/>
                      <a:pt x="296" y="207"/>
                    </a:cubicBezTo>
                    <a:cubicBezTo>
                      <a:pt x="296" y="207"/>
                      <a:pt x="283" y="212"/>
                      <a:pt x="279" y="201"/>
                    </a:cubicBezTo>
                    <a:cubicBezTo>
                      <a:pt x="279" y="201"/>
                      <a:pt x="289" y="193"/>
                      <a:pt x="253" y="188"/>
                    </a:cubicBezTo>
                    <a:cubicBezTo>
                      <a:pt x="253" y="188"/>
                      <a:pt x="257" y="172"/>
                      <a:pt x="231" y="149"/>
                    </a:cubicBezTo>
                    <a:cubicBezTo>
                      <a:pt x="231" y="149"/>
                      <a:pt x="233" y="141"/>
                      <a:pt x="215" y="140"/>
                    </a:cubicBezTo>
                    <a:cubicBezTo>
                      <a:pt x="216" y="124"/>
                      <a:pt x="205" y="130"/>
                      <a:pt x="206" y="117"/>
                    </a:cubicBezTo>
                    <a:cubicBezTo>
                      <a:pt x="206" y="117"/>
                      <a:pt x="198" y="113"/>
                      <a:pt x="204" y="96"/>
                    </a:cubicBezTo>
                    <a:cubicBezTo>
                      <a:pt x="211" y="92"/>
                      <a:pt x="198" y="88"/>
                      <a:pt x="202" y="83"/>
                    </a:cubicBezTo>
                    <a:cubicBezTo>
                      <a:pt x="202" y="83"/>
                      <a:pt x="214" y="81"/>
                      <a:pt x="195" y="67"/>
                    </a:cubicBezTo>
                    <a:cubicBezTo>
                      <a:pt x="195" y="67"/>
                      <a:pt x="198" y="54"/>
                      <a:pt x="181" y="54"/>
                    </a:cubicBezTo>
                    <a:cubicBezTo>
                      <a:pt x="181" y="54"/>
                      <a:pt x="159" y="55"/>
                      <a:pt x="172" y="46"/>
                    </a:cubicBezTo>
                    <a:cubicBezTo>
                      <a:pt x="182" y="43"/>
                      <a:pt x="170" y="39"/>
                      <a:pt x="172" y="30"/>
                    </a:cubicBezTo>
                    <a:cubicBezTo>
                      <a:pt x="172" y="30"/>
                      <a:pt x="175" y="11"/>
                      <a:pt x="161" y="18"/>
                    </a:cubicBezTo>
                    <a:cubicBezTo>
                      <a:pt x="161" y="18"/>
                      <a:pt x="151" y="20"/>
                      <a:pt x="153" y="14"/>
                    </a:cubicBezTo>
                    <a:cubicBezTo>
                      <a:pt x="153" y="14"/>
                      <a:pt x="155" y="7"/>
                      <a:pt x="145" y="6"/>
                    </a:cubicBezTo>
                    <a:cubicBezTo>
                      <a:pt x="138" y="11"/>
                      <a:pt x="122" y="9"/>
                      <a:pt x="122" y="9"/>
                    </a:cubicBezTo>
                    <a:cubicBezTo>
                      <a:pt x="111" y="0"/>
                      <a:pt x="106" y="14"/>
                      <a:pt x="106" y="14"/>
                    </a:cubicBezTo>
                    <a:cubicBezTo>
                      <a:pt x="103" y="20"/>
                      <a:pt x="117" y="12"/>
                      <a:pt x="117" y="19"/>
                    </a:cubicBezTo>
                    <a:cubicBezTo>
                      <a:pt x="117" y="28"/>
                      <a:pt x="102" y="33"/>
                      <a:pt x="102" y="33"/>
                    </a:cubicBezTo>
                    <a:cubicBezTo>
                      <a:pt x="84" y="47"/>
                      <a:pt x="84" y="55"/>
                      <a:pt x="84" y="55"/>
                    </a:cubicBezTo>
                    <a:cubicBezTo>
                      <a:pt x="90" y="66"/>
                      <a:pt x="78" y="70"/>
                      <a:pt x="78" y="70"/>
                    </a:cubicBezTo>
                    <a:cubicBezTo>
                      <a:pt x="65" y="76"/>
                      <a:pt x="70" y="87"/>
                      <a:pt x="70" y="87"/>
                    </a:cubicBezTo>
                    <a:cubicBezTo>
                      <a:pt x="64" y="80"/>
                      <a:pt x="58" y="86"/>
                      <a:pt x="58" y="86"/>
                    </a:cubicBezTo>
                    <a:cubicBezTo>
                      <a:pt x="47" y="91"/>
                      <a:pt x="52" y="97"/>
                      <a:pt x="52" y="97"/>
                    </a:cubicBezTo>
                    <a:cubicBezTo>
                      <a:pt x="44" y="97"/>
                      <a:pt x="37" y="91"/>
                      <a:pt x="37" y="91"/>
                    </a:cubicBezTo>
                    <a:cubicBezTo>
                      <a:pt x="34" y="92"/>
                      <a:pt x="33" y="101"/>
                      <a:pt x="28" y="98"/>
                    </a:cubicBezTo>
                    <a:cubicBezTo>
                      <a:pt x="13" y="91"/>
                      <a:pt x="15" y="104"/>
                      <a:pt x="15" y="104"/>
                    </a:cubicBezTo>
                    <a:cubicBezTo>
                      <a:pt x="14" y="113"/>
                      <a:pt x="22" y="110"/>
                      <a:pt x="19" y="127"/>
                    </a:cubicBezTo>
                    <a:cubicBezTo>
                      <a:pt x="19" y="127"/>
                      <a:pt x="19" y="127"/>
                      <a:pt x="19" y="127"/>
                    </a:cubicBezTo>
                    <a:close/>
                  </a:path>
                </a:pathLst>
              </a:custGeom>
              <a:solidFill>
                <a:srgbClr val="669900">
                  <a:alpha val="87057"/>
                </a:srgbClr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683419" fontAlgn="base">
                  <a:spcBef>
                    <a:spcPct val="0"/>
                  </a:spcBef>
                  <a:spcAft>
                    <a:spcPct val="0"/>
                  </a:spcAft>
                </a:pPr>
                <a:endParaRPr lang="uk-UA" sz="135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48" name="Oval 147"/>
            <p:cNvSpPr/>
            <p:nvPr/>
          </p:nvSpPr>
          <p:spPr bwMode="auto">
            <a:xfrm>
              <a:off x="5124253" y="2409362"/>
              <a:ext cx="144448" cy="14286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latin typeface="Calibri" panose="020F0502020204030204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165" name="Freeform 164"/>
            <p:cNvSpPr>
              <a:spLocks noChangeAspect="1"/>
            </p:cNvSpPr>
            <p:nvPr/>
          </p:nvSpPr>
          <p:spPr bwMode="auto">
            <a:xfrm>
              <a:off x="8116375" y="3195110"/>
              <a:ext cx="871445" cy="971471"/>
            </a:xfrm>
            <a:custGeom>
              <a:avLst/>
              <a:gdLst>
                <a:gd name="connsiteX0" fmla="*/ 127000 w 828675"/>
                <a:gd name="connsiteY0" fmla="*/ 885825 h 885825"/>
                <a:gd name="connsiteX1" fmla="*/ 244475 w 828675"/>
                <a:gd name="connsiteY1" fmla="*/ 873125 h 885825"/>
                <a:gd name="connsiteX2" fmla="*/ 234950 w 828675"/>
                <a:gd name="connsiteY2" fmla="*/ 809625 h 885825"/>
                <a:gd name="connsiteX3" fmla="*/ 266700 w 828675"/>
                <a:gd name="connsiteY3" fmla="*/ 774700 h 885825"/>
                <a:gd name="connsiteX4" fmla="*/ 228600 w 828675"/>
                <a:gd name="connsiteY4" fmla="*/ 765175 h 885825"/>
                <a:gd name="connsiteX5" fmla="*/ 247650 w 828675"/>
                <a:gd name="connsiteY5" fmla="*/ 720725 h 885825"/>
                <a:gd name="connsiteX6" fmla="*/ 244475 w 828675"/>
                <a:gd name="connsiteY6" fmla="*/ 622300 h 885825"/>
                <a:gd name="connsiteX7" fmla="*/ 285750 w 828675"/>
                <a:gd name="connsiteY7" fmla="*/ 600075 h 885825"/>
                <a:gd name="connsiteX8" fmla="*/ 361950 w 828675"/>
                <a:gd name="connsiteY8" fmla="*/ 587375 h 885825"/>
                <a:gd name="connsiteX9" fmla="*/ 381000 w 828675"/>
                <a:gd name="connsiteY9" fmla="*/ 561975 h 885825"/>
                <a:gd name="connsiteX10" fmla="*/ 419100 w 828675"/>
                <a:gd name="connsiteY10" fmla="*/ 552450 h 885825"/>
                <a:gd name="connsiteX11" fmla="*/ 412750 w 828675"/>
                <a:gd name="connsiteY11" fmla="*/ 504825 h 885825"/>
                <a:gd name="connsiteX12" fmla="*/ 434975 w 828675"/>
                <a:gd name="connsiteY12" fmla="*/ 454025 h 885825"/>
                <a:gd name="connsiteX13" fmla="*/ 476250 w 828675"/>
                <a:gd name="connsiteY13" fmla="*/ 463550 h 885825"/>
                <a:gd name="connsiteX14" fmla="*/ 774700 w 828675"/>
                <a:gd name="connsiteY14" fmla="*/ 450850 h 885825"/>
                <a:gd name="connsiteX15" fmla="*/ 781050 w 828675"/>
                <a:gd name="connsiteY15" fmla="*/ 304800 h 885825"/>
                <a:gd name="connsiteX16" fmla="*/ 828675 w 828675"/>
                <a:gd name="connsiteY16" fmla="*/ 222250 h 885825"/>
                <a:gd name="connsiteX17" fmla="*/ 774700 w 828675"/>
                <a:gd name="connsiteY17" fmla="*/ 222250 h 885825"/>
                <a:gd name="connsiteX18" fmla="*/ 774700 w 828675"/>
                <a:gd name="connsiteY18" fmla="*/ 209550 h 885825"/>
                <a:gd name="connsiteX19" fmla="*/ 787400 w 828675"/>
                <a:gd name="connsiteY19" fmla="*/ 190500 h 885825"/>
                <a:gd name="connsiteX20" fmla="*/ 768350 w 828675"/>
                <a:gd name="connsiteY20" fmla="*/ 139700 h 885825"/>
                <a:gd name="connsiteX21" fmla="*/ 749300 w 828675"/>
                <a:gd name="connsiteY21" fmla="*/ 101600 h 885825"/>
                <a:gd name="connsiteX22" fmla="*/ 717550 w 828675"/>
                <a:gd name="connsiteY22" fmla="*/ 88900 h 885825"/>
                <a:gd name="connsiteX23" fmla="*/ 698500 w 828675"/>
                <a:gd name="connsiteY23" fmla="*/ 92075 h 885825"/>
                <a:gd name="connsiteX24" fmla="*/ 603250 w 828675"/>
                <a:gd name="connsiteY24" fmla="*/ 69850 h 885825"/>
                <a:gd name="connsiteX25" fmla="*/ 542925 w 828675"/>
                <a:gd name="connsiteY25" fmla="*/ 0 h 885825"/>
                <a:gd name="connsiteX26" fmla="*/ 520700 w 828675"/>
                <a:gd name="connsiteY26" fmla="*/ 47625 h 885825"/>
                <a:gd name="connsiteX27" fmla="*/ 454025 w 828675"/>
                <a:gd name="connsiteY27" fmla="*/ 63500 h 885825"/>
                <a:gd name="connsiteX28" fmla="*/ 419100 w 828675"/>
                <a:gd name="connsiteY28" fmla="*/ 12700 h 885825"/>
                <a:gd name="connsiteX29" fmla="*/ 381000 w 828675"/>
                <a:gd name="connsiteY29" fmla="*/ 44450 h 885825"/>
                <a:gd name="connsiteX30" fmla="*/ 314325 w 828675"/>
                <a:gd name="connsiteY30" fmla="*/ 76200 h 885825"/>
                <a:gd name="connsiteX31" fmla="*/ 276225 w 828675"/>
                <a:gd name="connsiteY31" fmla="*/ 117475 h 885825"/>
                <a:gd name="connsiteX32" fmla="*/ 241300 w 828675"/>
                <a:gd name="connsiteY32" fmla="*/ 203200 h 885825"/>
                <a:gd name="connsiteX33" fmla="*/ 196850 w 828675"/>
                <a:gd name="connsiteY33" fmla="*/ 228600 h 885825"/>
                <a:gd name="connsiteX34" fmla="*/ 149225 w 828675"/>
                <a:gd name="connsiteY34" fmla="*/ 203200 h 885825"/>
                <a:gd name="connsiteX35" fmla="*/ 95250 w 828675"/>
                <a:gd name="connsiteY35" fmla="*/ 247650 h 885825"/>
                <a:gd name="connsiteX36" fmla="*/ 60325 w 828675"/>
                <a:gd name="connsiteY36" fmla="*/ 279400 h 885825"/>
                <a:gd name="connsiteX37" fmla="*/ 85725 w 828675"/>
                <a:gd name="connsiteY37" fmla="*/ 323850 h 885825"/>
                <a:gd name="connsiteX38" fmla="*/ 104775 w 828675"/>
                <a:gd name="connsiteY38" fmla="*/ 349250 h 885825"/>
                <a:gd name="connsiteX39" fmla="*/ 95250 w 828675"/>
                <a:gd name="connsiteY39" fmla="*/ 381000 h 885825"/>
                <a:gd name="connsiteX40" fmla="*/ 85725 w 828675"/>
                <a:gd name="connsiteY40" fmla="*/ 428625 h 885825"/>
                <a:gd name="connsiteX41" fmla="*/ 31750 w 828675"/>
                <a:gd name="connsiteY41" fmla="*/ 444500 h 885825"/>
                <a:gd name="connsiteX42" fmla="*/ 9525 w 828675"/>
                <a:gd name="connsiteY42" fmla="*/ 476250 h 885825"/>
                <a:gd name="connsiteX43" fmla="*/ 0 w 828675"/>
                <a:gd name="connsiteY43" fmla="*/ 520700 h 885825"/>
                <a:gd name="connsiteX44" fmla="*/ 15875 w 828675"/>
                <a:gd name="connsiteY44" fmla="*/ 565150 h 885825"/>
                <a:gd name="connsiteX45" fmla="*/ 28575 w 828675"/>
                <a:gd name="connsiteY45" fmla="*/ 587375 h 885825"/>
                <a:gd name="connsiteX46" fmla="*/ 63500 w 828675"/>
                <a:gd name="connsiteY46" fmla="*/ 584200 h 885825"/>
                <a:gd name="connsiteX47" fmla="*/ 76200 w 828675"/>
                <a:gd name="connsiteY47" fmla="*/ 631825 h 885825"/>
                <a:gd name="connsiteX48" fmla="*/ 92075 w 828675"/>
                <a:gd name="connsiteY48" fmla="*/ 654050 h 885825"/>
                <a:gd name="connsiteX49" fmla="*/ 114300 w 828675"/>
                <a:gd name="connsiteY49" fmla="*/ 692150 h 885825"/>
                <a:gd name="connsiteX50" fmla="*/ 107950 w 828675"/>
                <a:gd name="connsiteY50" fmla="*/ 727075 h 885825"/>
                <a:gd name="connsiteX51" fmla="*/ 133350 w 828675"/>
                <a:gd name="connsiteY51" fmla="*/ 777875 h 885825"/>
                <a:gd name="connsiteX52" fmla="*/ 130175 w 828675"/>
                <a:gd name="connsiteY52" fmla="*/ 828675 h 885825"/>
                <a:gd name="connsiteX53" fmla="*/ 127000 w 828675"/>
                <a:gd name="connsiteY53" fmla="*/ 885825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28675" h="885825">
                  <a:moveTo>
                    <a:pt x="127000" y="885825"/>
                  </a:moveTo>
                  <a:lnTo>
                    <a:pt x="244475" y="873125"/>
                  </a:lnTo>
                  <a:lnTo>
                    <a:pt x="234950" y="809625"/>
                  </a:lnTo>
                  <a:lnTo>
                    <a:pt x="266700" y="774700"/>
                  </a:lnTo>
                  <a:lnTo>
                    <a:pt x="228600" y="765175"/>
                  </a:lnTo>
                  <a:lnTo>
                    <a:pt x="247650" y="720725"/>
                  </a:lnTo>
                  <a:lnTo>
                    <a:pt x="244475" y="622300"/>
                  </a:lnTo>
                  <a:lnTo>
                    <a:pt x="285750" y="600075"/>
                  </a:lnTo>
                  <a:lnTo>
                    <a:pt x="361950" y="587375"/>
                  </a:lnTo>
                  <a:lnTo>
                    <a:pt x="381000" y="561975"/>
                  </a:lnTo>
                  <a:lnTo>
                    <a:pt x="419100" y="552450"/>
                  </a:lnTo>
                  <a:lnTo>
                    <a:pt x="412750" y="504825"/>
                  </a:lnTo>
                  <a:lnTo>
                    <a:pt x="434975" y="454025"/>
                  </a:lnTo>
                  <a:lnTo>
                    <a:pt x="476250" y="463550"/>
                  </a:lnTo>
                  <a:lnTo>
                    <a:pt x="774700" y="450850"/>
                  </a:lnTo>
                  <a:lnTo>
                    <a:pt x="781050" y="304800"/>
                  </a:lnTo>
                  <a:lnTo>
                    <a:pt x="828675" y="222250"/>
                  </a:lnTo>
                  <a:lnTo>
                    <a:pt x="774700" y="222250"/>
                  </a:lnTo>
                  <a:lnTo>
                    <a:pt x="774700" y="209550"/>
                  </a:lnTo>
                  <a:lnTo>
                    <a:pt x="787400" y="190500"/>
                  </a:lnTo>
                  <a:lnTo>
                    <a:pt x="768350" y="139700"/>
                  </a:lnTo>
                  <a:lnTo>
                    <a:pt x="749300" y="101600"/>
                  </a:lnTo>
                  <a:lnTo>
                    <a:pt x="717550" y="88900"/>
                  </a:lnTo>
                  <a:lnTo>
                    <a:pt x="698500" y="92075"/>
                  </a:lnTo>
                  <a:lnTo>
                    <a:pt x="603250" y="69850"/>
                  </a:lnTo>
                  <a:lnTo>
                    <a:pt x="542925" y="0"/>
                  </a:lnTo>
                  <a:lnTo>
                    <a:pt x="520700" y="47625"/>
                  </a:lnTo>
                  <a:lnTo>
                    <a:pt x="454025" y="63500"/>
                  </a:lnTo>
                  <a:lnTo>
                    <a:pt x="419100" y="12700"/>
                  </a:lnTo>
                  <a:lnTo>
                    <a:pt x="381000" y="44450"/>
                  </a:lnTo>
                  <a:lnTo>
                    <a:pt x="314325" y="76200"/>
                  </a:lnTo>
                  <a:lnTo>
                    <a:pt x="276225" y="117475"/>
                  </a:lnTo>
                  <a:lnTo>
                    <a:pt x="241300" y="203200"/>
                  </a:lnTo>
                  <a:lnTo>
                    <a:pt x="196850" y="228600"/>
                  </a:lnTo>
                  <a:lnTo>
                    <a:pt x="149225" y="203200"/>
                  </a:lnTo>
                  <a:lnTo>
                    <a:pt x="95250" y="247650"/>
                  </a:lnTo>
                  <a:lnTo>
                    <a:pt x="60325" y="279400"/>
                  </a:lnTo>
                  <a:lnTo>
                    <a:pt x="85725" y="323850"/>
                  </a:lnTo>
                  <a:lnTo>
                    <a:pt x="104775" y="349250"/>
                  </a:lnTo>
                  <a:lnTo>
                    <a:pt x="95250" y="381000"/>
                  </a:lnTo>
                  <a:lnTo>
                    <a:pt x="85725" y="428625"/>
                  </a:lnTo>
                  <a:lnTo>
                    <a:pt x="31750" y="444500"/>
                  </a:lnTo>
                  <a:lnTo>
                    <a:pt x="9525" y="476250"/>
                  </a:lnTo>
                  <a:lnTo>
                    <a:pt x="0" y="520700"/>
                  </a:lnTo>
                  <a:lnTo>
                    <a:pt x="15875" y="565150"/>
                  </a:lnTo>
                  <a:lnTo>
                    <a:pt x="28575" y="587375"/>
                  </a:lnTo>
                  <a:lnTo>
                    <a:pt x="63500" y="584200"/>
                  </a:lnTo>
                  <a:lnTo>
                    <a:pt x="76200" y="631825"/>
                  </a:lnTo>
                  <a:lnTo>
                    <a:pt x="92075" y="654050"/>
                  </a:lnTo>
                  <a:lnTo>
                    <a:pt x="114300" y="692150"/>
                  </a:lnTo>
                  <a:lnTo>
                    <a:pt x="107950" y="727075"/>
                  </a:lnTo>
                  <a:lnTo>
                    <a:pt x="133350" y="777875"/>
                  </a:lnTo>
                  <a:lnTo>
                    <a:pt x="130175" y="828675"/>
                  </a:lnTo>
                  <a:lnTo>
                    <a:pt x="127000" y="8858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uk-UA" sz="750" u="sng" dirty="0">
                <a:solidFill>
                  <a:prstClr val="black"/>
                </a:solidFill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167" name="TextBox 166"/>
          <p:cNvSpPr txBox="1"/>
          <p:nvPr/>
        </p:nvSpPr>
        <p:spPr>
          <a:xfrm>
            <a:off x="2139799" y="2622655"/>
            <a:ext cx="81844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Тернопільськ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2015260" y="1648694"/>
            <a:ext cx="89855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олинська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2817515" y="1704016"/>
            <a:ext cx="89855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Рівненськ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3448264" y="1857400"/>
            <a:ext cx="788300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Житомирська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683568" y="3164898"/>
            <a:ext cx="815493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карпатська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2391505" y="3582310"/>
            <a:ext cx="726442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вецька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1571816" y="3095329"/>
            <a:ext cx="1025824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Івано-Франківська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1581697" y="2399643"/>
            <a:ext cx="646922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ьвівська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2803700" y="2553146"/>
            <a:ext cx="79850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мельницька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3509815" y="2886623"/>
            <a:ext cx="62645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Вінницька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4236564" y="2051800"/>
            <a:ext cx="578561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иївська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4963313" y="2817055"/>
            <a:ext cx="653881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каська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4054877" y="3860584"/>
            <a:ext cx="56424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Одеська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4721063" y="3860584"/>
            <a:ext cx="846967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иколаївська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668934" y="4259969"/>
            <a:ext cx="69745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ерсонська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6598501" y="3874890"/>
            <a:ext cx="683199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Запорізька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5217846" y="3304035"/>
            <a:ext cx="83559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Кіровоградська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6169160" y="3304035"/>
            <a:ext cx="955736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ніпропетровська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5609314" y="2469211"/>
            <a:ext cx="680363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Полтавська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4979143" y="1509557"/>
            <a:ext cx="771482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Чернігівська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770814" y="1579126"/>
            <a:ext cx="1675561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Сумська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6952144" y="2483518"/>
            <a:ext cx="683845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Харківська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930873" y="2761792"/>
            <a:ext cx="661993" cy="2527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Луганська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7535744" y="3234466"/>
            <a:ext cx="620767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Донецька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721065" y="2286649"/>
            <a:ext cx="483684" cy="3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4578">
              <a:defRPr/>
            </a:pPr>
            <a:r>
              <a:rPr lang="uk-UA" sz="675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cs typeface="Arial" pitchFamily="34" charset="0"/>
              </a:rPr>
              <a:t>м. Київ</a:t>
            </a:r>
          </a:p>
        </p:txBody>
      </p:sp>
      <p:grpSp>
        <p:nvGrpSpPr>
          <p:cNvPr id="2" name="Групувати 1"/>
          <p:cNvGrpSpPr/>
          <p:nvPr/>
        </p:nvGrpSpPr>
        <p:grpSpPr>
          <a:xfrm>
            <a:off x="1787436" y="3308236"/>
            <a:ext cx="467812" cy="376227"/>
            <a:chOff x="263352" y="4001463"/>
            <a:chExt cx="556222" cy="389418"/>
          </a:xfrm>
        </p:grpSpPr>
        <p:sp>
          <p:nvSpPr>
            <p:cNvPr id="22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39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8 (4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41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51" name="Групувати 150"/>
          <p:cNvGrpSpPr/>
          <p:nvPr/>
        </p:nvGrpSpPr>
        <p:grpSpPr>
          <a:xfrm>
            <a:off x="3647627" y="3150821"/>
            <a:ext cx="467812" cy="376227"/>
            <a:chOff x="263352" y="4001463"/>
            <a:chExt cx="556222" cy="389418"/>
          </a:xfrm>
        </p:grpSpPr>
        <p:sp>
          <p:nvSpPr>
            <p:cNvPr id="153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4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6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5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9)</a:t>
              </a:r>
              <a:r>
                <a:rPr lang="uk-UA" sz="750" dirty="0">
                  <a:solidFill>
                    <a:prstClr val="white"/>
                  </a:solidFill>
                </a:rPr>
                <a:t>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56" name="Групувати 155"/>
          <p:cNvGrpSpPr/>
          <p:nvPr/>
        </p:nvGrpSpPr>
        <p:grpSpPr>
          <a:xfrm>
            <a:off x="2102918" y="1838293"/>
            <a:ext cx="467812" cy="376227"/>
            <a:chOff x="263352" y="4001463"/>
            <a:chExt cx="556222" cy="389418"/>
          </a:xfrm>
        </p:grpSpPr>
        <p:sp>
          <p:nvSpPr>
            <p:cNvPr id="157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2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8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59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5 (23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60" name="Групувати 159"/>
          <p:cNvGrpSpPr/>
          <p:nvPr/>
        </p:nvGrpSpPr>
        <p:grpSpPr>
          <a:xfrm>
            <a:off x="6075703" y="3585753"/>
            <a:ext cx="467812" cy="243529"/>
            <a:chOff x="263352" y="4001463"/>
            <a:chExt cx="556222" cy="252068"/>
          </a:xfrm>
        </p:grpSpPr>
        <p:sp>
          <p:nvSpPr>
            <p:cNvPr id="161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5 (4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6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51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98" name="Групувати 197"/>
          <p:cNvGrpSpPr/>
          <p:nvPr/>
        </p:nvGrpSpPr>
        <p:grpSpPr>
          <a:xfrm>
            <a:off x="7519694" y="3510791"/>
            <a:ext cx="467812" cy="376227"/>
            <a:chOff x="263352" y="4001463"/>
            <a:chExt cx="556222" cy="389418"/>
          </a:xfrm>
        </p:grpSpPr>
        <p:sp>
          <p:nvSpPr>
            <p:cNvPr id="203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2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06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2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09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4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13" name="Групувати 212"/>
          <p:cNvGrpSpPr/>
          <p:nvPr/>
        </p:nvGrpSpPr>
        <p:grpSpPr>
          <a:xfrm>
            <a:off x="3561174" y="2108722"/>
            <a:ext cx="467812" cy="243529"/>
            <a:chOff x="263352" y="4001463"/>
            <a:chExt cx="556222" cy="252068"/>
          </a:xfrm>
        </p:grpSpPr>
        <p:sp>
          <p:nvSpPr>
            <p:cNvPr id="217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9 (4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2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3 (16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26" name="Групувати 225"/>
          <p:cNvGrpSpPr/>
          <p:nvPr/>
        </p:nvGrpSpPr>
        <p:grpSpPr>
          <a:xfrm>
            <a:off x="1147106" y="3338934"/>
            <a:ext cx="467812" cy="376227"/>
            <a:chOff x="263352" y="4001463"/>
            <a:chExt cx="556222" cy="389418"/>
          </a:xfrm>
        </p:grpSpPr>
        <p:sp>
          <p:nvSpPr>
            <p:cNvPr id="22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3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33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7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37" name="Групувати 236"/>
          <p:cNvGrpSpPr/>
          <p:nvPr/>
        </p:nvGrpSpPr>
        <p:grpSpPr>
          <a:xfrm>
            <a:off x="6878968" y="4120810"/>
            <a:ext cx="467812" cy="376227"/>
            <a:chOff x="263352" y="4001463"/>
            <a:chExt cx="556222" cy="389418"/>
          </a:xfrm>
        </p:grpSpPr>
        <p:sp>
          <p:nvSpPr>
            <p:cNvPr id="23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1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4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2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43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8 (44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46" name="Групувати 245"/>
          <p:cNvGrpSpPr/>
          <p:nvPr/>
        </p:nvGrpSpPr>
        <p:grpSpPr>
          <a:xfrm>
            <a:off x="4389935" y="2584170"/>
            <a:ext cx="467812" cy="243529"/>
            <a:chOff x="263352" y="4001463"/>
            <a:chExt cx="556222" cy="252068"/>
          </a:xfrm>
        </p:grpSpPr>
        <p:sp>
          <p:nvSpPr>
            <p:cNvPr id="249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52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61" name="Групувати 260"/>
          <p:cNvGrpSpPr/>
          <p:nvPr/>
        </p:nvGrpSpPr>
        <p:grpSpPr>
          <a:xfrm>
            <a:off x="1609041" y="2590889"/>
            <a:ext cx="467812" cy="376227"/>
            <a:chOff x="263352" y="4001463"/>
            <a:chExt cx="556222" cy="389418"/>
          </a:xfrm>
        </p:grpSpPr>
        <p:sp>
          <p:nvSpPr>
            <p:cNvPr id="26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5 (4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7 (4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12)</a:t>
              </a:r>
              <a:r>
                <a:rPr lang="uk-UA" sz="750" dirty="0">
                  <a:solidFill>
                    <a:prstClr val="white"/>
                  </a:solidFill>
                </a:rPr>
                <a:t>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69" name="Групувати 268"/>
          <p:cNvGrpSpPr/>
          <p:nvPr/>
        </p:nvGrpSpPr>
        <p:grpSpPr>
          <a:xfrm>
            <a:off x="4978900" y="4105713"/>
            <a:ext cx="467812" cy="376227"/>
            <a:chOff x="263352" y="4001463"/>
            <a:chExt cx="556222" cy="389418"/>
          </a:xfrm>
        </p:grpSpPr>
        <p:sp>
          <p:nvSpPr>
            <p:cNvPr id="270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2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9 (7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2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73" name="Групувати 272"/>
          <p:cNvGrpSpPr/>
          <p:nvPr/>
        </p:nvGrpSpPr>
        <p:grpSpPr>
          <a:xfrm>
            <a:off x="4269320" y="4174680"/>
            <a:ext cx="467812" cy="376227"/>
            <a:chOff x="263352" y="4001463"/>
            <a:chExt cx="556222" cy="389418"/>
          </a:xfrm>
        </p:grpSpPr>
        <p:sp>
          <p:nvSpPr>
            <p:cNvPr id="27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8 (4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6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77" name="Групувати 276"/>
          <p:cNvGrpSpPr/>
          <p:nvPr/>
        </p:nvGrpSpPr>
        <p:grpSpPr>
          <a:xfrm>
            <a:off x="5771585" y="2684054"/>
            <a:ext cx="467812" cy="376227"/>
            <a:chOff x="263352" y="4001463"/>
            <a:chExt cx="556222" cy="389418"/>
          </a:xfrm>
        </p:grpSpPr>
        <p:sp>
          <p:nvSpPr>
            <p:cNvPr id="278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2 (4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79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0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7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1" name="Групувати 280"/>
          <p:cNvGrpSpPr/>
          <p:nvPr/>
        </p:nvGrpSpPr>
        <p:grpSpPr>
          <a:xfrm>
            <a:off x="2838592" y="1915317"/>
            <a:ext cx="467812" cy="376227"/>
            <a:chOff x="263352" y="4001463"/>
            <a:chExt cx="556222" cy="389418"/>
          </a:xfrm>
        </p:grpSpPr>
        <p:sp>
          <p:nvSpPr>
            <p:cNvPr id="28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1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3 (5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5" name="Групувати 284"/>
          <p:cNvGrpSpPr/>
          <p:nvPr/>
        </p:nvGrpSpPr>
        <p:grpSpPr>
          <a:xfrm>
            <a:off x="5890470" y="1871706"/>
            <a:ext cx="467812" cy="376227"/>
            <a:chOff x="263352" y="4001463"/>
            <a:chExt cx="556222" cy="389418"/>
          </a:xfrm>
        </p:grpSpPr>
        <p:sp>
          <p:nvSpPr>
            <p:cNvPr id="286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7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3 (5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88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4 (18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89" name="Групувати 288"/>
          <p:cNvGrpSpPr/>
          <p:nvPr/>
        </p:nvGrpSpPr>
        <p:grpSpPr>
          <a:xfrm>
            <a:off x="2315115" y="2855171"/>
            <a:ext cx="467812" cy="243529"/>
            <a:chOff x="263352" y="4001463"/>
            <a:chExt cx="556222" cy="252068"/>
          </a:xfrm>
        </p:grpSpPr>
        <p:sp>
          <p:nvSpPr>
            <p:cNvPr id="290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6 (16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91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93" name="Групувати 292"/>
          <p:cNvGrpSpPr/>
          <p:nvPr/>
        </p:nvGrpSpPr>
        <p:grpSpPr>
          <a:xfrm>
            <a:off x="2931052" y="2794298"/>
            <a:ext cx="467812" cy="243529"/>
            <a:chOff x="263352" y="4001463"/>
            <a:chExt cx="556222" cy="252068"/>
          </a:xfrm>
        </p:grpSpPr>
        <p:sp>
          <p:nvSpPr>
            <p:cNvPr id="29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2 (21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9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4 (3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01" name="Групувати 300"/>
          <p:cNvGrpSpPr/>
          <p:nvPr/>
        </p:nvGrpSpPr>
        <p:grpSpPr>
          <a:xfrm>
            <a:off x="5912792" y="4464141"/>
            <a:ext cx="467812" cy="376227"/>
            <a:chOff x="263352" y="4001463"/>
            <a:chExt cx="556222" cy="389418"/>
          </a:xfrm>
        </p:grpSpPr>
        <p:sp>
          <p:nvSpPr>
            <p:cNvPr id="302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4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3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1 (3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4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11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05" name="Групувати 304"/>
          <p:cNvGrpSpPr/>
          <p:nvPr/>
        </p:nvGrpSpPr>
        <p:grpSpPr>
          <a:xfrm>
            <a:off x="4781626" y="3030698"/>
            <a:ext cx="467812" cy="376227"/>
            <a:chOff x="263352" y="4001463"/>
            <a:chExt cx="556222" cy="389418"/>
          </a:xfrm>
        </p:grpSpPr>
        <p:sp>
          <p:nvSpPr>
            <p:cNvPr id="306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8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7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08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4 (1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13" name="Групувати 312"/>
          <p:cNvGrpSpPr/>
          <p:nvPr/>
        </p:nvGrpSpPr>
        <p:grpSpPr>
          <a:xfrm>
            <a:off x="5054792" y="1745198"/>
            <a:ext cx="467812" cy="376227"/>
            <a:chOff x="263352" y="4001463"/>
            <a:chExt cx="556222" cy="389418"/>
          </a:xfrm>
        </p:grpSpPr>
        <p:sp>
          <p:nvSpPr>
            <p:cNvPr id="314" name="Прямоугольник 181"/>
            <p:cNvSpPr/>
            <p:nvPr/>
          </p:nvSpPr>
          <p:spPr>
            <a:xfrm>
              <a:off x="264089" y="4001463"/>
              <a:ext cx="555485" cy="10241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5 (1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5" name="Прямоугольник 181"/>
            <p:cNvSpPr/>
            <p:nvPr/>
          </p:nvSpPr>
          <p:spPr>
            <a:xfrm>
              <a:off x="263352" y="4146662"/>
              <a:ext cx="555485" cy="10686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1 (89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6" name="Прямоугольник 181"/>
            <p:cNvSpPr/>
            <p:nvPr/>
          </p:nvSpPr>
          <p:spPr>
            <a:xfrm>
              <a:off x="263352" y="4290678"/>
              <a:ext cx="555485" cy="100203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3 (38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aphicFrame>
        <p:nvGraphicFramePr>
          <p:cNvPr id="194" name="Table 194"/>
          <p:cNvGraphicFramePr>
            <a:graphicFrameLocks noGrp="1"/>
          </p:cNvGraphicFramePr>
          <p:nvPr>
            <p:extLst/>
          </p:nvPr>
        </p:nvGraphicFramePr>
        <p:xfrm>
          <a:off x="249077" y="5435534"/>
          <a:ext cx="5055092" cy="1402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583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159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'єднані</a:t>
                      </a:r>
                      <a:r>
                        <a:rPr lang="uk-UA" sz="800" b="1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омади в яких відбулися перші місцеві вибори у 2015</a:t>
                      </a:r>
                      <a:r>
                        <a:rPr lang="en-US" sz="800" b="1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800" b="1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.</a:t>
                      </a:r>
                      <a:endParaRPr lang="uk-UA" sz="8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(794)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иторіальні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омади </a:t>
                      </a:r>
                      <a:r>
                        <a:rPr lang="uk-UA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складі об'єднань, де 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ідбулися перші місцеві вибори у 2015</a:t>
                      </a:r>
                      <a:r>
                        <a:rPr lang="en-US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.</a:t>
                      </a:r>
                      <a:endParaRPr lang="uk-UA" sz="8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208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05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'єднані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омади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в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яких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ідбулися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ші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ісцеві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kern="1200" baseline="0" noProof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бори</a:t>
                      </a:r>
                      <a:r>
                        <a:rPr lang="ru-RU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у 2016 р.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chemeClr val="bg1"/>
                          </a:solidFill>
                          <a:latin typeface="Cambria" panose="02040503050406030204" pitchFamily="18" charset="0"/>
                        </a:rPr>
                        <a:t>(946)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05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иторіальні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омади </a:t>
                      </a:r>
                      <a:r>
                        <a:rPr lang="uk-UA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складі об'єднань, де 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ідбулися перші місцеві вибори у 2016</a:t>
                      </a:r>
                      <a:r>
                        <a:rPr lang="en-US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.</a:t>
                      </a:r>
                      <a:endParaRPr lang="uk-UA" sz="800" b="1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0096030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</a:rPr>
                        <a:t>47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'єднані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омади, в </a:t>
                      </a:r>
                      <a:r>
                        <a:rPr lang="uk-UA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яких проведено вибори 30 квітня 2017 р.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4310">
                <a:tc>
                  <a:txBody>
                    <a:bodyPr/>
                    <a:lstStyle/>
                    <a:p>
                      <a:pPr algn="ctr"/>
                      <a:r>
                        <a:rPr lang="uk-UA" sz="800" b="1" noProof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</a:rPr>
                        <a:t>(232)</a:t>
                      </a:r>
                      <a:endParaRPr lang="uk-UA" sz="800" b="1" noProof="0" dirty="0">
                        <a:solidFill>
                          <a:srgbClr val="002060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иторіальні</a:t>
                      </a:r>
                      <a:r>
                        <a:rPr lang="uk-UA" sz="800" b="1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омади </a:t>
                      </a:r>
                      <a:r>
                        <a:rPr lang="uk-UA" sz="800" b="1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складі об'єднань, де проведено вибори 30 квітня 2017 р.</a:t>
                      </a:r>
                    </a:p>
                  </a:txBody>
                  <a:tcPr marL="91435" marR="91435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01" name="Rectangle 3"/>
          <p:cNvSpPr txBox="1">
            <a:spLocks noChangeArrowheads="1"/>
          </p:cNvSpPr>
          <p:nvPr/>
        </p:nvSpPr>
        <p:spPr bwMode="auto">
          <a:xfrm>
            <a:off x="78095" y="1445342"/>
            <a:ext cx="1571453" cy="4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ші місцеві вибори проведено в</a:t>
            </a:r>
          </a:p>
        </p:txBody>
      </p:sp>
      <p:sp>
        <p:nvSpPr>
          <p:cNvPr id="202" name="Rectangle 3"/>
          <p:cNvSpPr txBox="1">
            <a:spLocks noChangeArrowheads="1"/>
          </p:cNvSpPr>
          <p:nvPr/>
        </p:nvSpPr>
        <p:spPr bwMode="auto">
          <a:xfrm>
            <a:off x="104986" y="2267847"/>
            <a:ext cx="1563795" cy="314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'єднаних громадах</a:t>
            </a:r>
          </a:p>
        </p:txBody>
      </p:sp>
      <p:sp>
        <p:nvSpPr>
          <p:cNvPr id="205" name="Rectangle 3"/>
          <p:cNvSpPr txBox="1">
            <a:spLocks noChangeArrowheads="1"/>
          </p:cNvSpPr>
          <p:nvPr/>
        </p:nvSpPr>
        <p:spPr bwMode="auto">
          <a:xfrm>
            <a:off x="278253" y="1868660"/>
            <a:ext cx="1027858" cy="382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uk-UA" altLang="ru-RU" sz="4050" b="1" dirty="0">
                <a:solidFill>
                  <a:srgbClr val="0000FF"/>
                </a:solidFill>
              </a:rPr>
              <a:t>413</a:t>
            </a:r>
            <a:endParaRPr lang="uk-UA" altLang="ru-RU" sz="2400" b="1" dirty="0">
              <a:solidFill>
                <a:srgbClr val="0000FF"/>
              </a:solidFill>
            </a:endParaRPr>
          </a:p>
        </p:txBody>
      </p:sp>
      <p:grpSp>
        <p:nvGrpSpPr>
          <p:cNvPr id="3" name="Групувати 2"/>
          <p:cNvGrpSpPr/>
          <p:nvPr/>
        </p:nvGrpSpPr>
        <p:grpSpPr>
          <a:xfrm>
            <a:off x="5243031" y="3523759"/>
            <a:ext cx="471917" cy="387875"/>
            <a:chOff x="5243031" y="3523759"/>
            <a:chExt cx="471917" cy="387875"/>
          </a:xfrm>
        </p:grpSpPr>
        <p:sp>
          <p:nvSpPr>
            <p:cNvPr id="257" name="Прямоугольник 181"/>
            <p:cNvSpPr/>
            <p:nvPr/>
          </p:nvSpPr>
          <p:spPr>
            <a:xfrm>
              <a:off x="5247756" y="3523759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59" name="Прямоугольник 181"/>
            <p:cNvSpPr/>
            <p:nvPr/>
          </p:nvSpPr>
          <p:spPr>
            <a:xfrm>
              <a:off x="5247136" y="3664039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3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1" name="Прямоугольник 181"/>
            <p:cNvSpPr/>
            <p:nvPr/>
          </p:nvSpPr>
          <p:spPr>
            <a:xfrm>
              <a:off x="5243031" y="3814825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5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4" name="Групувати 3"/>
          <p:cNvGrpSpPr/>
          <p:nvPr/>
        </p:nvGrpSpPr>
        <p:grpSpPr>
          <a:xfrm>
            <a:off x="8050243" y="2984805"/>
            <a:ext cx="471112" cy="389242"/>
            <a:chOff x="8050243" y="2984805"/>
            <a:chExt cx="471112" cy="389242"/>
          </a:xfrm>
        </p:grpSpPr>
        <p:sp>
          <p:nvSpPr>
            <p:cNvPr id="266" name="Прямоугольник 181"/>
            <p:cNvSpPr/>
            <p:nvPr/>
          </p:nvSpPr>
          <p:spPr>
            <a:xfrm>
              <a:off x="8050863" y="2984805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2 (1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267" name="Прямоугольник 181"/>
            <p:cNvSpPr/>
            <p:nvPr/>
          </p:nvSpPr>
          <p:spPr>
            <a:xfrm>
              <a:off x="8050243" y="3125085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 (3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2" name="Прямоугольник 181"/>
            <p:cNvSpPr/>
            <p:nvPr/>
          </p:nvSpPr>
          <p:spPr>
            <a:xfrm>
              <a:off x="8054163" y="3277238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12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5" name="Групувати 4"/>
          <p:cNvGrpSpPr/>
          <p:nvPr/>
        </p:nvGrpSpPr>
        <p:grpSpPr>
          <a:xfrm>
            <a:off x="6984202" y="2856854"/>
            <a:ext cx="467192" cy="240396"/>
            <a:chOff x="6984202" y="2856854"/>
            <a:chExt cx="467192" cy="240396"/>
          </a:xfrm>
        </p:grpSpPr>
        <p:sp>
          <p:nvSpPr>
            <p:cNvPr id="299" name="Прямоугольник 181"/>
            <p:cNvSpPr/>
            <p:nvPr/>
          </p:nvSpPr>
          <p:spPr>
            <a:xfrm>
              <a:off x="6984202" y="2856854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4 (1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5" name="Прямоугольник 181"/>
            <p:cNvSpPr/>
            <p:nvPr/>
          </p:nvSpPr>
          <p:spPr>
            <a:xfrm>
              <a:off x="6984202" y="3000441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1 (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6" name="Групувати 5"/>
          <p:cNvGrpSpPr/>
          <p:nvPr/>
        </p:nvGrpSpPr>
        <p:grpSpPr>
          <a:xfrm>
            <a:off x="2462460" y="3769915"/>
            <a:ext cx="467812" cy="391020"/>
            <a:chOff x="2462460" y="3769915"/>
            <a:chExt cx="467812" cy="391020"/>
          </a:xfrm>
        </p:grpSpPr>
        <p:sp>
          <p:nvSpPr>
            <p:cNvPr id="310" name="Прямоугольник 181"/>
            <p:cNvSpPr/>
            <p:nvPr/>
          </p:nvSpPr>
          <p:spPr>
            <a:xfrm>
              <a:off x="2463080" y="3769915"/>
              <a:ext cx="467192" cy="9894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rgbClr val="E46C0A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10 (30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311" name="Прямоугольник 181"/>
            <p:cNvSpPr/>
            <p:nvPr/>
          </p:nvSpPr>
          <p:spPr>
            <a:xfrm>
              <a:off x="2462460" y="3910195"/>
              <a:ext cx="467192" cy="103249"/>
            </a:xfrm>
            <a:prstGeom prst="rect">
              <a:avLst/>
            </a:prstGeom>
            <a:solidFill>
              <a:srgbClr val="2805FD"/>
            </a:solidFill>
            <a:ln>
              <a:solidFill>
                <a:srgbClr val="2805FD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prstClr val="white"/>
                  </a:solidFill>
                </a:rPr>
                <a:t>6 (26) </a:t>
              </a:r>
              <a:endParaRPr lang="ru-RU" sz="750" dirty="0">
                <a:solidFill>
                  <a:prstClr val="white"/>
                </a:solidFill>
              </a:endParaRPr>
            </a:p>
          </p:txBody>
        </p:sp>
        <p:sp>
          <p:nvSpPr>
            <p:cNvPr id="196" name="Прямоугольник 181"/>
            <p:cNvSpPr/>
            <p:nvPr/>
          </p:nvSpPr>
          <p:spPr>
            <a:xfrm>
              <a:off x="2462460" y="4064126"/>
              <a:ext cx="467192" cy="96809"/>
            </a:xfrm>
            <a:prstGeom prst="rect">
              <a:avLst/>
            </a:prstGeom>
            <a:solidFill>
              <a:srgbClr val="00FFFF"/>
            </a:solidFill>
            <a:ln>
              <a:solidFill>
                <a:srgbClr val="00FFFF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27000" tIns="27000" rIns="27000" bIns="27000" anchor="ctr"/>
            <a:lstStyle/>
            <a:p>
              <a:pPr algn="ctr" defTabSz="684578">
                <a:defRPr/>
              </a:pPr>
              <a:r>
                <a:rPr lang="uk-UA" sz="750" dirty="0">
                  <a:solidFill>
                    <a:srgbClr val="002060"/>
                  </a:solidFill>
                </a:rPr>
                <a:t>2 (6) </a:t>
              </a:r>
              <a:endParaRPr lang="ru-RU" sz="750" dirty="0">
                <a:solidFill>
                  <a:srgbClr val="002060"/>
                </a:solidFill>
              </a:endParaRPr>
            </a:p>
          </p:txBody>
        </p:sp>
      </p:grpSp>
      <p:sp>
        <p:nvSpPr>
          <p:cNvPr id="197" name="Заголовок 1"/>
          <p:cNvSpPr txBox="1">
            <a:spLocks/>
          </p:cNvSpPr>
          <p:nvPr/>
        </p:nvSpPr>
        <p:spPr>
          <a:xfrm>
            <a:off x="0" y="-27384"/>
            <a:ext cx="9144000" cy="72008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anchor="ctr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Bef>
                <a:spcPct val="20000"/>
              </a:spcBef>
              <a:spcAft>
                <a:spcPct val="0"/>
              </a:spcAft>
            </a:pPr>
            <a:r>
              <a:rPr lang="uk-UA" sz="2000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+mn-lt"/>
                <a:cs typeface="Arial" panose="020B0604020202020204" pitchFamily="34" charset="0"/>
              </a:rPr>
              <a:t>СТАН ФОРМУВАННЯ ОБЄДНАНИХ ТЕРИТОРАІЛЬНИХ ГРОМАД В УКРАЇНІ</a:t>
            </a:r>
            <a:endParaRPr lang="uk-UA" altLang="ru-RU" sz="2000" b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0943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683568" y="260648"/>
            <a:ext cx="8263370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ІНФОРМАЦІЯ                                                                                                                                                                                                                                                     про </a:t>
            </a: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добровільне об’єднання територіальних громад  </a:t>
            </a:r>
            <a:r>
              <a:rPr lang="uk-UA" altLang="ru-RU" sz="1200" b="1" dirty="0">
                <a:solidFill>
                  <a:srgbClr val="4F81BD"/>
                </a:solidFill>
                <a:latin typeface="Calibri" pitchFamily="34" charset="0"/>
              </a:rPr>
              <a:t>(станом на  19.05.2017)   </a:t>
            </a:r>
            <a:b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</a:br>
            <a:endParaRPr lang="uk-UA" altLang="ru-RU" sz="21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286000" y="269033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" indent="449580" algn="just">
              <a:spcAft>
                <a:spcPts val="0"/>
              </a:spcAft>
            </a:pPr>
            <a:r>
              <a:rPr lang="uk-UA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uk-UA" sz="1600" dirty="0">
              <a:solidFill>
                <a:srgbClr val="000000"/>
              </a:solidFill>
              <a:effectLst/>
              <a:latin typeface="Arial Unicode MS" panose="020B0604020202020204" pitchFamily="34" charset="-128"/>
              <a:ea typeface="Arial Unicode MS" panose="020B0604020202020204" pitchFamily="34" charset="-128"/>
            </a:endParaRPr>
          </a:p>
        </p:txBody>
      </p:sp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045982"/>
              </p:ext>
            </p:extLst>
          </p:nvPr>
        </p:nvGraphicFramePr>
        <p:xfrm>
          <a:off x="323528" y="980734"/>
          <a:ext cx="8551402" cy="54466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413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32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48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35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33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08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541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33731">
                <a:tc gridSpan="7">
                  <a:txBody>
                    <a:bodyPr/>
                    <a:lstStyle/>
                    <a:p>
                      <a:pPr algn="ctr" fontAlgn="t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1068">
                <a:tc rowSpan="2">
                  <a:txBody>
                    <a:bodyPr/>
                    <a:lstStyle/>
                    <a:p>
                      <a:pPr algn="ctr" fontAlgn="t"/>
                      <a:r>
                        <a:rPr lang="uk-UA" sz="1100" b="1" u="none" strike="noStrike" dirty="0">
                          <a:effectLst/>
                        </a:rPr>
                        <a:t>Область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uk-UA" sz="1100" b="1" u="none" strike="noStrike" dirty="0">
                          <a:effectLst/>
                        </a:rPr>
                        <a:t>Всього створено в 2015-2016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017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7764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</a:rPr>
                        <a:t>Проведено </a:t>
                      </a:r>
                      <a:r>
                        <a:rPr lang="uk-UA" sz="1100" b="1" u="none" strike="noStrike" noProof="0" dirty="0">
                          <a:effectLst/>
                        </a:rPr>
                        <a:t>вибори у 2017 році</a:t>
                      </a:r>
                      <a:endParaRPr lang="uk-UA" sz="1100" b="1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1100" b="1" u="none" strike="noStrike" dirty="0">
                          <a:effectLst/>
                        </a:rPr>
                        <a:t>Чекають рішення ЦВК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</a:rPr>
                        <a:t>ОДА </a:t>
                      </a:r>
                      <a:r>
                        <a:rPr lang="uk-UA" sz="1100" b="1" u="none" strike="noStrike" noProof="0" dirty="0">
                          <a:effectLst/>
                        </a:rPr>
                        <a:t>готує звернення </a:t>
                      </a:r>
                      <a:r>
                        <a:rPr lang="ru-RU" sz="1100" b="1" u="none" strike="noStrike" dirty="0">
                          <a:effectLst/>
                        </a:rPr>
                        <a:t>до ЦВК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1100" b="1" u="none" strike="noStrike" dirty="0">
                          <a:effectLst/>
                        </a:rPr>
                        <a:t>Приймають рішення щодо ДОТГ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uk-UA" sz="1100" b="1" u="none" strike="noStrike" dirty="0">
                          <a:effectLst/>
                        </a:rPr>
                        <a:t>Очікують висновку ОД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Вінниц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2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Волин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5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5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5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Дніпропетро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9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5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Донец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Житомир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Закарпат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2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Запоріз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8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3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>
                          <a:effectLst/>
                        </a:rPr>
                        <a:t>І-Франківська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3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Киї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2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Кіровоград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5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3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Луган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3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Льві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8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Миколаї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9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Оде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3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Полта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8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8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>
                          <a:effectLst/>
                        </a:rPr>
                        <a:t>Рівненська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8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Сум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2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Тернопіль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Харків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Херсонська 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5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Хмельниц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1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Черкас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4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Чернівецька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2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 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81068">
                <a:tc>
                  <a:txBody>
                    <a:bodyPr/>
                    <a:lstStyle/>
                    <a:p>
                      <a:pPr algn="l" fontAlgn="b"/>
                      <a:r>
                        <a:rPr lang="uk-UA" sz="1100" b="1" u="none" strike="noStrike" dirty="0">
                          <a:effectLst/>
                        </a:rPr>
                        <a:t>Чернігівська 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16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9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 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>
                          <a:effectLst/>
                        </a:rPr>
                        <a:t>3</a:t>
                      </a:r>
                      <a:endParaRPr lang="uk-UA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100" b="1" u="none" strike="noStrike" dirty="0">
                          <a:effectLst/>
                        </a:rPr>
                        <a:t>2</a:t>
                      </a:r>
                      <a:endParaRPr lang="uk-U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28406"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Всього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366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47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73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10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44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400" b="1" u="none" strike="noStrike" dirty="0">
                          <a:effectLst/>
                        </a:rPr>
                        <a:t>24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42" marR="7242" marT="7242" marB="0" anchor="b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1339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648072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uk-UA" sz="1600" b="1" dirty="0">
                <a:latin typeface="Arial" panose="020B0604020202020204" pitchFamily="34" charset="0"/>
                <a:cs typeface="Arial" panose="020B0604020202020204" pitchFamily="34" charset="0"/>
              </a:rPr>
              <a:t>Державна підтримка на розвиток громад та розбудову інфраструктури  </a:t>
            </a:r>
            <a:endParaRPr lang="uk-U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Діагра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9309417"/>
              </p:ext>
            </p:extLst>
          </p:nvPr>
        </p:nvGraphicFramePr>
        <p:xfrm>
          <a:off x="251520" y="1517340"/>
          <a:ext cx="8784976" cy="5008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кутник 1"/>
          <p:cNvSpPr/>
          <p:nvPr/>
        </p:nvSpPr>
        <p:spPr>
          <a:xfrm>
            <a:off x="1354104" y="5386592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0,5</a:t>
            </a:r>
          </a:p>
        </p:txBody>
      </p:sp>
      <p:sp>
        <p:nvSpPr>
          <p:cNvPr id="12" name="Прямокутник 11"/>
          <p:cNvSpPr/>
          <p:nvPr/>
        </p:nvSpPr>
        <p:spPr>
          <a:xfrm>
            <a:off x="2886783" y="386104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3,7</a:t>
            </a:r>
          </a:p>
        </p:txBody>
      </p:sp>
      <p:sp>
        <p:nvSpPr>
          <p:cNvPr id="13" name="Прямокутник 12"/>
          <p:cNvSpPr/>
          <p:nvPr/>
        </p:nvSpPr>
        <p:spPr>
          <a:xfrm>
            <a:off x="4377680" y="2204864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7,3</a:t>
            </a:r>
          </a:p>
        </p:txBody>
      </p:sp>
      <p:sp>
        <p:nvSpPr>
          <p:cNvPr id="14" name="Прямокутник 13"/>
          <p:cNvSpPr/>
          <p:nvPr/>
        </p:nvSpPr>
        <p:spPr>
          <a:xfrm>
            <a:off x="5868144" y="1400582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rgbClr val="FF0000"/>
                </a:solidFill>
              </a:rPr>
              <a:t>9,0</a:t>
            </a:r>
          </a:p>
        </p:txBody>
      </p:sp>
      <p:sp>
        <p:nvSpPr>
          <p:cNvPr id="15" name="Прямокутник 14"/>
          <p:cNvSpPr/>
          <p:nvPr/>
        </p:nvSpPr>
        <p:spPr>
          <a:xfrm>
            <a:off x="5724128" y="294664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3,5</a:t>
            </a:r>
          </a:p>
        </p:txBody>
      </p:sp>
      <p:sp>
        <p:nvSpPr>
          <p:cNvPr id="16" name="Прямокутник 15"/>
          <p:cNvSpPr/>
          <p:nvPr/>
        </p:nvSpPr>
        <p:spPr>
          <a:xfrm>
            <a:off x="4233664" y="3573016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3,0</a:t>
            </a:r>
          </a:p>
        </p:txBody>
      </p:sp>
      <p:sp>
        <p:nvSpPr>
          <p:cNvPr id="17" name="Прямокутник 16"/>
          <p:cNvSpPr/>
          <p:nvPr/>
        </p:nvSpPr>
        <p:spPr>
          <a:xfrm>
            <a:off x="2699792" y="5733256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0,8</a:t>
            </a:r>
          </a:p>
        </p:txBody>
      </p:sp>
      <p:sp>
        <p:nvSpPr>
          <p:cNvPr id="18" name="Прямокутник 17"/>
          <p:cNvSpPr/>
          <p:nvPr/>
        </p:nvSpPr>
        <p:spPr>
          <a:xfrm>
            <a:off x="4233664" y="2698068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1,0</a:t>
            </a:r>
          </a:p>
        </p:txBody>
      </p:sp>
      <p:sp>
        <p:nvSpPr>
          <p:cNvPr id="19" name="Прямокутник 18"/>
          <p:cNvSpPr/>
          <p:nvPr/>
        </p:nvSpPr>
        <p:spPr>
          <a:xfrm>
            <a:off x="5724128" y="1899759"/>
            <a:ext cx="626368" cy="410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200" b="1" dirty="0">
                <a:solidFill>
                  <a:schemeClr val="tx1"/>
                </a:solidFill>
              </a:rPr>
              <a:t>1,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80472" y="764701"/>
            <a:ext cx="6840000" cy="461665"/>
          </a:xfrm>
          <a:prstGeom prst="rect">
            <a:avLst/>
          </a:prstGeom>
          <a:solidFill>
            <a:schemeClr val="tx2"/>
          </a:solidFill>
          <a:ln w="28575">
            <a:solidFill>
              <a:schemeClr val="bg1">
                <a:lumMod val="9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uk-UA" sz="2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r>
              <a:rPr lang="uk-UA" sz="1100" dirty="0">
                <a:solidFill>
                  <a:schemeClr val="bg1"/>
                </a:solidFill>
                <a:latin typeface="Arial Black" panose="020B0A04020102020204" pitchFamily="34" charset="0"/>
              </a:rPr>
              <a:t>ІНФРАСТРУКТУРНИХ ПРОЕКТІВ РЕАЛІЗОВАНО У 2016 РОЦІ В 159 ОБ’ЄДНАНИХ ТЕРИТОРІАЛЬНИХ ГРОМАДАХ ЗА РАХУНОК СУБВЕНЦІЇ НА ПІДТРИМКУ ГРОМАД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1560" y="692696"/>
            <a:ext cx="1296144" cy="707886"/>
          </a:xfrm>
          <a:prstGeom prst="rect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uk-UA" sz="4000" b="1" spc="50" dirty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libri" panose="020F0502020204030204" pitchFamily="34" charset="0"/>
              </a:rPr>
              <a:t>1383 </a:t>
            </a:r>
            <a:r>
              <a:rPr lang="uk-UA" sz="4000" b="1" spc="50" dirty="0">
                <a:ln w="11430"/>
                <a:solidFill>
                  <a:schemeClr val="bg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7373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 txBox="1">
            <a:spLocks noChangeArrowheads="1"/>
          </p:cNvSpPr>
          <p:nvPr/>
        </p:nvSpPr>
        <p:spPr bwMode="auto">
          <a:xfrm>
            <a:off x="683568" y="260648"/>
            <a:ext cx="8263370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ІНФОРМАЦІЯ                                                                                                                                                                                                                                                     по районах, </a:t>
            </a: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території яких повністю покриваються </a:t>
            </a:r>
            <a:r>
              <a:rPr lang="ru-RU" altLang="ru-RU" sz="2100" b="1" dirty="0">
                <a:solidFill>
                  <a:srgbClr val="4F81BD"/>
                </a:solidFill>
                <a:latin typeface="Calibri" pitchFamily="34" charset="0"/>
              </a:rPr>
              <a:t>ОТГ</a:t>
            </a:r>
            <a:b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</a:br>
            <a:endParaRPr lang="uk-UA" altLang="ru-RU" sz="21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286000" y="269033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" indent="449580" algn="just">
              <a:spcAft>
                <a:spcPts val="0"/>
              </a:spcAft>
            </a:pPr>
            <a:r>
              <a:rPr lang="uk-UA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uk-UA" sz="1600" dirty="0">
              <a:solidFill>
                <a:srgbClr val="000000"/>
              </a:solidFill>
              <a:effectLst/>
              <a:latin typeface="Arial Unicode MS" panose="020B0604020202020204" pitchFamily="34" charset="-128"/>
              <a:ea typeface="Arial Unicode MS" panose="020B0604020202020204" pitchFamily="34" charset="-128"/>
            </a:endParaRPr>
          </a:p>
        </p:txBody>
      </p:sp>
      <p:sp>
        <p:nvSpPr>
          <p:cNvPr id="4" name="Прямокутник 3"/>
          <p:cNvSpPr/>
          <p:nvPr/>
        </p:nvSpPr>
        <p:spPr bwMode="auto">
          <a:xfrm>
            <a:off x="323528" y="1052736"/>
            <a:ext cx="8496944" cy="1224136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400" b="1" dirty="0">
                <a:solidFill>
                  <a:schemeClr val="tx2"/>
                </a:solidFill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На виконання доручення Кабінету Міністрів України від 18.04.2017 № 14572/1/1-17 сформовано та затверджено Віце-прем'єр-міністром України - Міністром регіонального розвитку, будівництва та житлово-комунального господарства України Зубком Г.Г. робочу групу з функціонального обстеження окремих райдержадміністрацій, виконавчих апаратів райрад та виконавчих органів відповідних об'єднаних територіальних громад</a:t>
            </a:r>
          </a:p>
        </p:txBody>
      </p:sp>
      <p:graphicFrame>
        <p:nvGraphicFramePr>
          <p:cNvPr id="6" name="Таблиця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692097"/>
              </p:ext>
            </p:extLst>
          </p:nvPr>
        </p:nvGraphicFramePr>
        <p:xfrm>
          <a:off x="274638" y="2339352"/>
          <a:ext cx="8569325" cy="389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3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958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1637"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зва району, область 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зва ОТГ, межі яких збігаються  з межами районів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699">
                <a:tc>
                  <a:txBody>
                    <a:bodyPr/>
                    <a:lstStyle/>
                    <a:p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родицький район Житомирської обл.</a:t>
                      </a:r>
                      <a:endParaRPr lang="uk-UA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родиц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0124">
                <a:tc>
                  <a:txBody>
                    <a:bodyPr/>
                    <a:lstStyle/>
                    <a:p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росинявський район Хмельницької обл.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росинявс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96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овський район Чернігівської обл.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овс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0124">
                <a:tc>
                  <a:txBody>
                    <a:bodyPr/>
                    <a:lstStyle/>
                    <a:p>
                      <a:pPr marL="0" algn="l" defTabSz="863083" rtl="0" eaLnBrk="1" latinLnBrk="0" hangingPunct="1"/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иманський район Донецької обл.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r>
                        <a:rPr lang="uk-UA" sz="18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манська</a:t>
                      </a:r>
                      <a:r>
                        <a:rPr lang="uk-UA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Г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7988">
                <a:tc>
                  <a:txBody>
                    <a:bodyPr/>
                    <a:lstStyle/>
                    <a:p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етичівський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район Хмельницької обл.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pPr marL="0" algn="l" defTabSz="863083" rtl="0" eaLnBrk="1" latinLnBrk="0" hangingPunct="1"/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етичівс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, </a:t>
                      </a:r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джибіз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</a:t>
                      </a: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0124">
                <a:tc>
                  <a:txBody>
                    <a:bodyPr/>
                    <a:lstStyle/>
                    <a:p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постолівський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айон Дніпропетровської обл.</a:t>
                      </a:r>
                    </a:p>
                  </a:txBody>
                  <a:tcPr marL="91444" marR="91444" marT="45703" marB="45703"/>
                </a:tc>
                <a:tc>
                  <a:txBody>
                    <a:bodyPr/>
                    <a:lstStyle/>
                    <a:p>
                      <a:pPr marL="0" algn="l" defTabSz="863083" rtl="0" eaLnBrk="1" latinLnBrk="0" hangingPunct="1"/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постолівська, </a:t>
                      </a:r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ивотрудівс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uk-UA" sz="1800" kern="1200" dirty="0" err="1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ушівська</a:t>
                      </a:r>
                      <a:r>
                        <a:rPr lang="uk-UA" sz="18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Зеленодольська</a:t>
                      </a:r>
                      <a:r>
                        <a:rPr lang="uk-UA" sz="1800" kern="1200" baseline="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ТГ</a:t>
                      </a:r>
                      <a:endParaRPr lang="uk-UA" sz="18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4" marR="91444" marT="45703" marB="4570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24288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іаграма 1">
            <a:extLst>
              <a:ext uri="{FF2B5EF4-FFF2-40B4-BE49-F238E27FC236}">
                <a16:creationId xmlns:a16="http://schemas.microsoft.com/office/drawing/2014/main" id="{0704F3E4-17EC-4165-A77B-7F9781960C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8117319"/>
              </p:ext>
            </p:extLst>
          </p:nvPr>
        </p:nvGraphicFramePr>
        <p:xfrm>
          <a:off x="-396552" y="458670"/>
          <a:ext cx="10744200" cy="765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Таблиця 2"/>
          <p:cNvGraphicFramePr>
            <a:graphicFrameLocks noGrp="1"/>
          </p:cNvGraphicFramePr>
          <p:nvPr>
            <p:extLst/>
          </p:nvPr>
        </p:nvGraphicFramePr>
        <p:xfrm>
          <a:off x="6354198" y="2402886"/>
          <a:ext cx="2486119" cy="26463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7200">
                  <a:extLst>
                    <a:ext uri="{9D8B030D-6E8A-4147-A177-3AD203B41FA5}">
                      <a16:colId xmlns:a16="http://schemas.microsoft.com/office/drawing/2014/main" val="3356755143"/>
                    </a:ext>
                  </a:extLst>
                </a:gridCol>
                <a:gridCol w="1558919">
                  <a:extLst>
                    <a:ext uri="{9D8B030D-6E8A-4147-A177-3AD203B41FA5}">
                      <a16:colId xmlns:a16="http://schemas.microsoft.com/office/drawing/2014/main" val="4233079479"/>
                    </a:ext>
                  </a:extLst>
                </a:gridCol>
              </a:tblGrid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Освіта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234 780999,2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581706620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Ремонт доріг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234 466997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825285879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Придбання спецтехніки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124 596576,7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4075377570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Культура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72 783030,71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90979556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Водопостачання, водовідведення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68 130811,98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576725070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Нерозподілений залишок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55 291779,46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57888870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Освітлення вулиць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53 698001,49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399577974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Охорона здоровя 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46 546234,6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766073939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Інше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35 102362,25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874819375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Ремонт адмін будівель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27 131850,6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32960429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Створення ЦНАП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17 155558,87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23034235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Придбання шкільних автобусів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15 735612,8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235454034"/>
                  </a:ext>
                </a:extLst>
              </a:tr>
              <a:tr h="134692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Спорт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12 630143,61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86323881"/>
                  </a:ext>
                </a:extLst>
              </a:tr>
              <a:tr h="261461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u="none" strike="noStrike">
                          <a:effectLst/>
                        </a:rPr>
                        <a:t>Містобудівна документація</a:t>
                      </a:r>
                      <a:endParaRPr lang="uk-UA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u="none" strike="noStrike" dirty="0">
                          <a:effectLst/>
                        </a:rPr>
                        <a:t>1 950040,71</a:t>
                      </a:r>
                      <a:endParaRPr lang="uk-UA" sz="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76130505"/>
                  </a:ext>
                </a:extLst>
              </a:tr>
            </a:tbl>
          </a:graphicData>
        </a:graphic>
      </p:graphicFrame>
      <p:sp>
        <p:nvSpPr>
          <p:cNvPr id="4" name="Прямокутник 3"/>
          <p:cNvSpPr/>
          <p:nvPr/>
        </p:nvSpPr>
        <p:spPr>
          <a:xfrm>
            <a:off x="899592" y="332656"/>
            <a:ext cx="8047346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uk-UA" dirty="0"/>
              <a:t> 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899592" y="189627"/>
            <a:ext cx="7776864" cy="287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945" tIns="33475" rIns="66945" bIns="33475" anchor="ctr"/>
          <a:lstStyle>
            <a:lvl1pPr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77888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685800" eaLnBrk="1" fontAlgn="base" hangingPunct="1">
              <a:spcAft>
                <a:spcPct val="0"/>
              </a:spcAft>
              <a:tabLst>
                <a:tab pos="658416" algn="l"/>
              </a:tabLst>
            </a:pPr>
            <a:r>
              <a:rPr lang="uk-UA" altLang="ru-RU" sz="2100" b="1" dirty="0">
                <a:solidFill>
                  <a:srgbClr val="4F81BD"/>
                </a:solidFill>
                <a:latin typeface="Calibri" pitchFamily="34" charset="0"/>
              </a:rPr>
              <a:t>Використання інфраструктурної субвенції ОТГ</a:t>
            </a:r>
          </a:p>
        </p:txBody>
      </p:sp>
    </p:spTree>
    <p:extLst>
      <p:ext uri="{BB962C8B-B14F-4D97-AF65-F5344CB8AC3E}">
        <p14:creationId xmlns:p14="http://schemas.microsoft.com/office/powerpoint/2010/main" val="1310006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ADWPhiCUWFfk1RpiSE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pbwAW6LkSmSRW0aeJx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yO1PUwbEydOWGd8yF9TQ"/>
</p:tagLst>
</file>

<file path=ppt/theme/theme1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Desig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6810" tIns="38405" rIns="76810" bIns="38405">
        <a:spAutoFit/>
      </a:bodyPr>
      <a:lstStyle>
        <a:defPPr eaLnBrk="1" hangingPunct="1">
          <a:defRPr sz="1600" b="1" dirty="0">
            <a:solidFill>
              <a:srgbClr val="002060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12</TotalTime>
  <Words>1940</Words>
  <Application>Microsoft Office PowerPoint</Application>
  <PresentationFormat>Екран (4:3)</PresentationFormat>
  <Paragraphs>563</Paragraphs>
  <Slides>13</Slides>
  <Notes>7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9</vt:i4>
      </vt:variant>
      <vt:variant>
        <vt:lpstr>Тема</vt:lpstr>
      </vt:variant>
      <vt:variant>
        <vt:i4>3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3</vt:i4>
      </vt:variant>
    </vt:vector>
  </HeadingPairs>
  <TitlesOfParts>
    <vt:vector size="26" baseType="lpstr">
      <vt:lpstr>Arial Unicode MS</vt:lpstr>
      <vt:lpstr>MS PGothic</vt:lpstr>
      <vt:lpstr>Arial</vt:lpstr>
      <vt:lpstr>Arial Black</vt:lpstr>
      <vt:lpstr>Calibri</vt:lpstr>
      <vt:lpstr>Calibri Light</vt:lpstr>
      <vt:lpstr>Cambria</vt:lpstr>
      <vt:lpstr>Times New Roman</vt:lpstr>
      <vt:lpstr>Wingdings</vt:lpstr>
      <vt:lpstr>Тема Office</vt:lpstr>
      <vt:lpstr>2_Default Design</vt:lpstr>
      <vt:lpstr>1_Тема Office</vt:lpstr>
      <vt:lpstr>think-cell Slide</vt:lpstr>
      <vt:lpstr>Презентація PowerPoint</vt:lpstr>
      <vt:lpstr> Державна політика та законодавчі зміни щодо децентралізації та реформування місцевого самоврядування в Україні </vt:lpstr>
      <vt:lpstr>Презентація PowerPoint</vt:lpstr>
      <vt:lpstr>Презентація PowerPoint</vt:lpstr>
      <vt:lpstr>Презентація PowerPoint</vt:lpstr>
      <vt:lpstr>Презентація PowerPoint</vt:lpstr>
      <vt:lpstr>Державна підтримка на розвиток громад та розбудову інфраструктури  </vt:lpstr>
      <vt:lpstr>Презентація PowerPoint</vt:lpstr>
      <vt:lpstr>Презентація PowerPoint</vt:lpstr>
      <vt:lpstr>Презентація PowerPoint</vt:lpstr>
      <vt:lpstr>Презентація PowerPoint</vt:lpstr>
      <vt:lpstr>Основні переваги об'єднаних територіальних громад</vt:lpstr>
      <vt:lpstr>Презентаці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Sara Yasmeen (Wipro Technologies)</dc:creator>
  <cp:lastModifiedBy>Даменцова Людмила Петрівна</cp:lastModifiedBy>
  <cp:revision>92</cp:revision>
  <cp:lastPrinted>2017-05-22T17:40:21Z</cp:lastPrinted>
  <dcterms:created xsi:type="dcterms:W3CDTF">2010-02-23T11:30:32Z</dcterms:created>
  <dcterms:modified xsi:type="dcterms:W3CDTF">2017-05-22T17:42:12Z</dcterms:modified>
</cp:coreProperties>
</file>